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18" r:id="rId1"/>
  </p:sldMasterIdLst>
  <p:notesMasterIdLst>
    <p:notesMasterId r:id="rId35"/>
  </p:notesMasterIdLst>
  <p:sldIdLst>
    <p:sldId id="256" r:id="rId2"/>
    <p:sldId id="271" r:id="rId3"/>
    <p:sldId id="272" r:id="rId4"/>
    <p:sldId id="296" r:id="rId5"/>
    <p:sldId id="267" r:id="rId6"/>
    <p:sldId id="297" r:id="rId7"/>
    <p:sldId id="268" r:id="rId8"/>
    <p:sldId id="274" r:id="rId9"/>
    <p:sldId id="260" r:id="rId10"/>
    <p:sldId id="299" r:id="rId11"/>
    <p:sldId id="261" r:id="rId12"/>
    <p:sldId id="276" r:id="rId13"/>
    <p:sldId id="312" r:id="rId14"/>
    <p:sldId id="311" r:id="rId15"/>
    <p:sldId id="293" r:id="rId16"/>
    <p:sldId id="300" r:id="rId17"/>
    <p:sldId id="301" r:id="rId18"/>
    <p:sldId id="302" r:id="rId19"/>
    <p:sldId id="303" r:id="rId20"/>
    <p:sldId id="273" r:id="rId21"/>
    <p:sldId id="275" r:id="rId22"/>
    <p:sldId id="263" r:id="rId23"/>
    <p:sldId id="309" r:id="rId24"/>
    <p:sldId id="278" r:id="rId25"/>
    <p:sldId id="270" r:id="rId26"/>
    <p:sldId id="279" r:id="rId27"/>
    <p:sldId id="262" r:id="rId28"/>
    <p:sldId id="305" r:id="rId29"/>
    <p:sldId id="286" r:id="rId30"/>
    <p:sldId id="308" r:id="rId31"/>
    <p:sldId id="287" r:id="rId32"/>
    <p:sldId id="306" r:id="rId33"/>
    <p:sldId id="307" r:id="rId34"/>
  </p:sldIdLst>
  <p:sldSz cx="9144000" cy="6858000" type="screen4x3"/>
  <p:notesSz cx="6799263" cy="9929813"/>
  <p:defaultTextStyle>
    <a:defPPr marL="0" marR="0" indent="0" algn="l" defTabSz="9144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1pPr>
    <a:lvl2pPr marL="0" marR="0" indent="457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2pPr>
    <a:lvl3pPr marL="0" marR="0" indent="914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3pPr>
    <a:lvl4pPr marL="0" marR="0" indent="1371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4pPr>
    <a:lvl5pPr marL="0" marR="0" indent="18288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5pPr>
    <a:lvl6pPr marL="0" marR="0" indent="22860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6pPr>
    <a:lvl7pPr marL="0" marR="0" indent="27432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7pPr>
    <a:lvl8pPr marL="0" marR="0" indent="32004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8pPr>
    <a:lvl9pPr marL="0" marR="0" indent="3657600" algn="l" defTabSz="914400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F7F7F"/>
    <a:srgbClr val="3A536D"/>
    <a:srgbClr val="008409"/>
    <a:srgbClr val="A70400"/>
    <a:srgbClr val="006165"/>
    <a:srgbClr val="A74D00"/>
    <a:srgbClr val="00A90B"/>
    <a:srgbClr val="D76300"/>
    <a:srgbClr val="FFFFFF"/>
    <a:srgbClr val="77C7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6"/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5EDCA"/>
          </a:solidFill>
        </a:fill>
      </a:tcStyle>
    </a:wholeTbl>
    <a:band2H>
      <a:tcTxStyle/>
      <a:tcStyle>
        <a:tcBdr/>
        <a:fill>
          <a:solidFill>
            <a:srgbClr val="FAF6E7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F8CDCB"/>
          </a:solidFill>
        </a:fill>
      </a:tcStyle>
    </a:wholeTbl>
    <a:band2H>
      <a:tcTxStyle/>
      <a:tcStyle>
        <a:tcBdr/>
        <a:fill>
          <a:solidFill>
            <a:srgbClr val="FCE8E7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3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D7D7D7"/>
          </a:solidFill>
        </a:fill>
      </a:tcStyle>
    </a:wholeTbl>
    <a:band2H>
      <a:tcTxStyle/>
      <a:tcStyle>
        <a:tcBdr/>
        <a:fill>
          <a:solidFill>
            <a:srgbClr val="ECECEC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chemeClr val="accent6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E6E6E6"/>
          </a:solidFill>
        </a:fill>
      </a:tcStyle>
    </a:wholeTbl>
    <a:band2H>
      <a:tcTxStyle/>
      <a:tcStyle>
        <a:tcBdr/>
        <a:fill>
          <a:solidFill>
            <a:srgbClr val="FFFFFF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508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25400" cap="flat">
              <a:solidFill>
                <a:srgbClr val="000000"/>
              </a:solidFill>
              <a:prstDash val="solid"/>
              <a:round/>
            </a:ln>
          </a:top>
          <a:bottom>
            <a:ln w="25400" cap="flat">
              <a:solidFill>
                <a:srgbClr val="000000"/>
              </a:solidFill>
              <a:prstDash val="solid"/>
              <a:round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CACACA"/>
          </a:solidFill>
        </a:fill>
      </a:tcStyle>
    </a:wholeTbl>
    <a:band2H>
      <a:tcTxStyle/>
      <a:tcStyle>
        <a:tcBdr/>
        <a:fill>
          <a:solidFill>
            <a:srgbClr val="E6E6E6"/>
          </a:solidFill>
        </a:fill>
      </a:tcStyle>
    </a:band2H>
    <a:firstCol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Col>
    <a:la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38100" cap="flat">
              <a:solidFill>
                <a:srgbClr val="FFFFFF"/>
              </a:solidFill>
              <a:prstDash val="solid"/>
              <a:round/>
            </a:ln>
          </a:top>
          <a:bottom>
            <a:ln w="127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lastRow>
    <a:firstRow>
      <a:tcTxStyle b="on" i="off">
        <a:font>
          <a:latin typeface="Arial"/>
          <a:ea typeface="Arial"/>
          <a:cs typeface="Arial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round/>
            </a:ln>
          </a:left>
          <a:right>
            <a:ln w="12700" cap="flat">
              <a:solidFill>
                <a:srgbClr val="FFFFFF"/>
              </a:solidFill>
              <a:prstDash val="solid"/>
              <a:round/>
            </a:ln>
          </a:right>
          <a:top>
            <a:ln w="12700" cap="flat">
              <a:solidFill>
                <a:srgbClr val="FFFFFF"/>
              </a:solidFill>
              <a:prstDash val="solid"/>
              <a:round/>
            </a:ln>
          </a:top>
          <a:bottom>
            <a:ln w="38100" cap="flat">
              <a:solidFill>
                <a:srgbClr val="FFFFFF"/>
              </a:solidFill>
              <a:prstDash val="solid"/>
              <a:round/>
            </a:ln>
          </a:bottom>
          <a:insideH>
            <a:ln w="12700" cap="flat">
              <a:solidFill>
                <a:srgbClr val="FFFFFF"/>
              </a:solidFill>
              <a:prstDash val="solid"/>
              <a:round/>
            </a:ln>
          </a:insideH>
          <a:insideV>
            <a:ln w="12700" cap="flat">
              <a:solidFill>
                <a:srgbClr val="FFFFFF"/>
              </a:solidFill>
              <a:prstDash val="solid"/>
              <a:round/>
            </a:ln>
          </a:insideV>
        </a:tcBdr>
        <a:fill>
          <a:solidFill>
            <a:srgbClr val="000000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042" autoAdjust="0"/>
    <p:restoredTop sz="93817" autoAdjust="0"/>
  </p:normalViewPr>
  <p:slideViewPr>
    <p:cSldViewPr>
      <p:cViewPr varScale="1">
        <p:scale>
          <a:sx n="88" d="100"/>
          <a:sy n="88" d="100"/>
        </p:scale>
        <p:origin x="1218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1015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A421DAE-C657-44DA-ACD7-6EBD14685935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0F446AF0-6946-42A3-8119-A17554689F36}">
      <dgm:prSet phldrT="[Text]" custT="1"/>
      <dgm:spPr/>
      <dgm:t>
        <a:bodyPr/>
        <a:lstStyle/>
        <a:p>
          <a:r>
            <a:rPr lang="th-TH" sz="2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โครงสร้างกระทรวง</a:t>
          </a:r>
          <a:r>
            <a:rPr lang="th-TH" sz="2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พลังงาน</a:t>
          </a:r>
          <a:endParaRPr lang="en-US" sz="24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48186082-2578-4829-B289-A2D3937295DC}" type="parTrans" cxnId="{6E64C33C-9F71-4A4C-8956-E65DD3A28B2B}">
      <dgm:prSet/>
      <dgm:spPr/>
      <dgm:t>
        <a:bodyPr/>
        <a:lstStyle/>
        <a:p>
          <a:endParaRPr lang="en-US" sz="24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46AAD22A-3AB8-4E3D-9849-2BFAD91EE9C1}" type="sibTrans" cxnId="{6E64C33C-9F71-4A4C-8956-E65DD3A28B2B}">
      <dgm:prSet/>
      <dgm:spPr/>
      <dgm:t>
        <a:bodyPr/>
        <a:lstStyle/>
        <a:p>
          <a:endParaRPr lang="en-US" sz="24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21970BC-893D-446B-9578-28CE05AB9324}">
      <dgm:prSet phldrT="[Text]" custT="1"/>
      <dgm:spPr/>
      <dgm:t>
        <a:bodyPr/>
        <a:lstStyle/>
        <a:p>
          <a:r>
            <a:rPr lang="th-TH" sz="2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ภารกิจสำนักงานพลังงานจังหวัด</a:t>
          </a:r>
          <a:endParaRPr lang="en-US" sz="24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AFA7EDBB-4B30-442C-8234-D93999129F4A}" type="parTrans" cxnId="{9C727DDC-1894-458D-BE60-17F44B97F93B}">
      <dgm:prSet/>
      <dgm:spPr/>
      <dgm:t>
        <a:bodyPr/>
        <a:lstStyle/>
        <a:p>
          <a:endParaRPr lang="en-US" sz="24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79378E2-523C-4A53-B7FA-2ECD91EBF823}" type="sibTrans" cxnId="{9C727DDC-1894-458D-BE60-17F44B97F93B}">
      <dgm:prSet/>
      <dgm:spPr/>
      <dgm:t>
        <a:bodyPr/>
        <a:lstStyle/>
        <a:p>
          <a:endParaRPr lang="en-US" sz="24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FFAB004-97D3-41CF-920C-F153BAFBCAFD}">
      <dgm:prSet phldrT="[Text]" custT="1"/>
      <dgm:spPr/>
      <dgm:t>
        <a:bodyPr/>
        <a:lstStyle/>
        <a:p>
          <a:r>
            <a:rPr lang="th-TH" sz="2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ประเด็นนโยบายสำคัญด้านพลังงาน</a:t>
          </a:r>
          <a:endParaRPr lang="en-US" sz="24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FAC3793E-CAC0-4F96-A0B7-7681CAA8DD61}" type="parTrans" cxnId="{A4E24AD9-EBD2-4A57-B87E-9006BA88D278}">
      <dgm:prSet/>
      <dgm:spPr/>
      <dgm:t>
        <a:bodyPr/>
        <a:lstStyle/>
        <a:p>
          <a:endParaRPr lang="en-US"/>
        </a:p>
      </dgm:t>
    </dgm:pt>
    <dgm:pt modelId="{58B6F898-22D6-418A-AC10-97945D500E6B}" type="sibTrans" cxnId="{A4E24AD9-EBD2-4A57-B87E-9006BA88D278}">
      <dgm:prSet/>
      <dgm:spPr/>
      <dgm:t>
        <a:bodyPr/>
        <a:lstStyle/>
        <a:p>
          <a:endParaRPr lang="en-US"/>
        </a:p>
      </dgm:t>
    </dgm:pt>
    <dgm:pt modelId="{21A3098B-A081-4D10-8F7F-2CA06DB28334}" type="pres">
      <dgm:prSet presAssocID="{EA421DAE-C657-44DA-ACD7-6EBD14685935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1E0D239A-F268-484F-A8A8-9AE8A68645C8}" type="pres">
      <dgm:prSet presAssocID="{EA421DAE-C657-44DA-ACD7-6EBD14685935}" presName="Name1" presStyleCnt="0"/>
      <dgm:spPr/>
    </dgm:pt>
    <dgm:pt modelId="{89CE5A0F-C6A0-4343-B0B9-4B09018CD3C8}" type="pres">
      <dgm:prSet presAssocID="{EA421DAE-C657-44DA-ACD7-6EBD14685935}" presName="cycle" presStyleCnt="0"/>
      <dgm:spPr/>
    </dgm:pt>
    <dgm:pt modelId="{36372553-6953-4275-88ED-79D992FC38C4}" type="pres">
      <dgm:prSet presAssocID="{EA421DAE-C657-44DA-ACD7-6EBD14685935}" presName="srcNode" presStyleLbl="node1" presStyleIdx="0" presStyleCnt="3"/>
      <dgm:spPr/>
    </dgm:pt>
    <dgm:pt modelId="{24F0AB00-144A-496E-A9F1-8C7D86EAFB97}" type="pres">
      <dgm:prSet presAssocID="{EA421DAE-C657-44DA-ACD7-6EBD14685935}" presName="conn" presStyleLbl="parChTrans1D2" presStyleIdx="0" presStyleCnt="1"/>
      <dgm:spPr/>
      <dgm:t>
        <a:bodyPr/>
        <a:lstStyle/>
        <a:p>
          <a:endParaRPr lang="en-US"/>
        </a:p>
      </dgm:t>
    </dgm:pt>
    <dgm:pt modelId="{A6C0A267-CB63-4296-93AA-E4FA318F0C64}" type="pres">
      <dgm:prSet presAssocID="{EA421DAE-C657-44DA-ACD7-6EBD14685935}" presName="extraNode" presStyleLbl="node1" presStyleIdx="0" presStyleCnt="3"/>
      <dgm:spPr/>
    </dgm:pt>
    <dgm:pt modelId="{862F4D99-52B7-4A93-A95D-CA05F9496DAE}" type="pres">
      <dgm:prSet presAssocID="{EA421DAE-C657-44DA-ACD7-6EBD14685935}" presName="dstNode" presStyleLbl="node1" presStyleIdx="0" presStyleCnt="3"/>
      <dgm:spPr/>
    </dgm:pt>
    <dgm:pt modelId="{D91C4D02-9AF6-4140-AA2D-C6D14B102305}" type="pres">
      <dgm:prSet presAssocID="{0F446AF0-6946-42A3-8119-A17554689F36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41542C4-F902-4105-A838-61F0B5AC38FC}" type="pres">
      <dgm:prSet presAssocID="{0F446AF0-6946-42A3-8119-A17554689F36}" presName="accent_1" presStyleCnt="0"/>
      <dgm:spPr/>
    </dgm:pt>
    <dgm:pt modelId="{CBAE2D19-C32B-4207-949A-9AD32DDEC317}" type="pres">
      <dgm:prSet presAssocID="{0F446AF0-6946-42A3-8119-A17554689F36}" presName="accentRepeatNode" presStyleLbl="solidFgAcc1" presStyleIdx="0" presStyleCnt="3"/>
      <dgm:spPr/>
    </dgm:pt>
    <dgm:pt modelId="{F723B43D-83AE-4B2E-88EB-5058AFE008B7}" type="pres">
      <dgm:prSet presAssocID="{6FFAB004-97D3-41CF-920C-F153BAFBCAFD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F33682C-D17B-4F9D-A204-E45ACF84C99B}" type="pres">
      <dgm:prSet presAssocID="{6FFAB004-97D3-41CF-920C-F153BAFBCAFD}" presName="accent_2" presStyleCnt="0"/>
      <dgm:spPr/>
    </dgm:pt>
    <dgm:pt modelId="{7CF9BBDB-6531-44DB-A945-C90B16533F62}" type="pres">
      <dgm:prSet presAssocID="{6FFAB004-97D3-41CF-920C-F153BAFBCAFD}" presName="accentRepeatNode" presStyleLbl="solidFgAcc1" presStyleIdx="1" presStyleCnt="3"/>
      <dgm:spPr/>
    </dgm:pt>
    <dgm:pt modelId="{3F33C9C5-6B76-48B0-84EA-B1448E3F36ED}" type="pres">
      <dgm:prSet presAssocID="{B21970BC-893D-446B-9578-28CE05AB9324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431CDC4-9E7A-4FB5-99C2-F6BB600D54E3}" type="pres">
      <dgm:prSet presAssocID="{B21970BC-893D-446B-9578-28CE05AB9324}" presName="accent_3" presStyleCnt="0"/>
      <dgm:spPr/>
    </dgm:pt>
    <dgm:pt modelId="{CD58E607-BF34-4F57-A4AE-1EC9DE28605C}" type="pres">
      <dgm:prSet presAssocID="{B21970BC-893D-446B-9578-28CE05AB9324}" presName="accentRepeatNode" presStyleLbl="solidFgAcc1" presStyleIdx="2" presStyleCnt="3"/>
      <dgm:spPr/>
    </dgm:pt>
  </dgm:ptLst>
  <dgm:cxnLst>
    <dgm:cxn modelId="{E9D23814-55C7-4B26-B822-220470B3DB05}" type="presOf" srcId="{46AAD22A-3AB8-4E3D-9849-2BFAD91EE9C1}" destId="{24F0AB00-144A-496E-A9F1-8C7D86EAFB97}" srcOrd="0" destOrd="0" presId="urn:microsoft.com/office/officeart/2008/layout/VerticalCurvedList"/>
    <dgm:cxn modelId="{A4E24AD9-EBD2-4A57-B87E-9006BA88D278}" srcId="{EA421DAE-C657-44DA-ACD7-6EBD14685935}" destId="{6FFAB004-97D3-41CF-920C-F153BAFBCAFD}" srcOrd="1" destOrd="0" parTransId="{FAC3793E-CAC0-4F96-A0B7-7681CAA8DD61}" sibTransId="{58B6F898-22D6-418A-AC10-97945D500E6B}"/>
    <dgm:cxn modelId="{6E64C33C-9F71-4A4C-8956-E65DD3A28B2B}" srcId="{EA421DAE-C657-44DA-ACD7-6EBD14685935}" destId="{0F446AF0-6946-42A3-8119-A17554689F36}" srcOrd="0" destOrd="0" parTransId="{48186082-2578-4829-B289-A2D3937295DC}" sibTransId="{46AAD22A-3AB8-4E3D-9849-2BFAD91EE9C1}"/>
    <dgm:cxn modelId="{7D81434F-8937-49EC-9ECF-86A1DB9F07D5}" type="presOf" srcId="{0F446AF0-6946-42A3-8119-A17554689F36}" destId="{D91C4D02-9AF6-4140-AA2D-C6D14B102305}" srcOrd="0" destOrd="0" presId="urn:microsoft.com/office/officeart/2008/layout/VerticalCurvedList"/>
    <dgm:cxn modelId="{BDAF4D82-0327-4E4D-8DC3-96D69A982D5E}" type="presOf" srcId="{6FFAB004-97D3-41CF-920C-F153BAFBCAFD}" destId="{F723B43D-83AE-4B2E-88EB-5058AFE008B7}" srcOrd="0" destOrd="0" presId="urn:microsoft.com/office/officeart/2008/layout/VerticalCurvedList"/>
    <dgm:cxn modelId="{C2D9E9EB-9A60-4FC0-A49A-FCEEE947FEF7}" type="presOf" srcId="{EA421DAE-C657-44DA-ACD7-6EBD14685935}" destId="{21A3098B-A081-4D10-8F7F-2CA06DB28334}" srcOrd="0" destOrd="0" presId="urn:microsoft.com/office/officeart/2008/layout/VerticalCurvedList"/>
    <dgm:cxn modelId="{9C727DDC-1894-458D-BE60-17F44B97F93B}" srcId="{EA421DAE-C657-44DA-ACD7-6EBD14685935}" destId="{B21970BC-893D-446B-9578-28CE05AB9324}" srcOrd="2" destOrd="0" parTransId="{AFA7EDBB-4B30-442C-8234-D93999129F4A}" sibTransId="{979378E2-523C-4A53-B7FA-2ECD91EBF823}"/>
    <dgm:cxn modelId="{5250FF45-BF50-4D8A-87D0-95FE087647DE}" type="presOf" srcId="{B21970BC-893D-446B-9578-28CE05AB9324}" destId="{3F33C9C5-6B76-48B0-84EA-B1448E3F36ED}" srcOrd="0" destOrd="0" presId="urn:microsoft.com/office/officeart/2008/layout/VerticalCurvedList"/>
    <dgm:cxn modelId="{645EB780-5473-4593-9400-7829C07047F6}" type="presParOf" srcId="{21A3098B-A081-4D10-8F7F-2CA06DB28334}" destId="{1E0D239A-F268-484F-A8A8-9AE8A68645C8}" srcOrd="0" destOrd="0" presId="urn:microsoft.com/office/officeart/2008/layout/VerticalCurvedList"/>
    <dgm:cxn modelId="{F49D12E7-A752-4D5D-A00A-441AAD2871C0}" type="presParOf" srcId="{1E0D239A-F268-484F-A8A8-9AE8A68645C8}" destId="{89CE5A0F-C6A0-4343-B0B9-4B09018CD3C8}" srcOrd="0" destOrd="0" presId="urn:microsoft.com/office/officeart/2008/layout/VerticalCurvedList"/>
    <dgm:cxn modelId="{711BCCA8-43A4-41D8-B9A9-12CC5DDDA8C7}" type="presParOf" srcId="{89CE5A0F-C6A0-4343-B0B9-4B09018CD3C8}" destId="{36372553-6953-4275-88ED-79D992FC38C4}" srcOrd="0" destOrd="0" presId="urn:microsoft.com/office/officeart/2008/layout/VerticalCurvedList"/>
    <dgm:cxn modelId="{23D21F6B-E614-4445-8F2D-8702E93EDEA8}" type="presParOf" srcId="{89CE5A0F-C6A0-4343-B0B9-4B09018CD3C8}" destId="{24F0AB00-144A-496E-A9F1-8C7D86EAFB97}" srcOrd="1" destOrd="0" presId="urn:microsoft.com/office/officeart/2008/layout/VerticalCurvedList"/>
    <dgm:cxn modelId="{A8023783-A8D1-49CA-93A3-BB788E602BB8}" type="presParOf" srcId="{89CE5A0F-C6A0-4343-B0B9-4B09018CD3C8}" destId="{A6C0A267-CB63-4296-93AA-E4FA318F0C64}" srcOrd="2" destOrd="0" presId="urn:microsoft.com/office/officeart/2008/layout/VerticalCurvedList"/>
    <dgm:cxn modelId="{E1B3C13C-7D09-4352-8FF7-7EC1501B20BD}" type="presParOf" srcId="{89CE5A0F-C6A0-4343-B0B9-4B09018CD3C8}" destId="{862F4D99-52B7-4A93-A95D-CA05F9496DAE}" srcOrd="3" destOrd="0" presId="urn:microsoft.com/office/officeart/2008/layout/VerticalCurvedList"/>
    <dgm:cxn modelId="{460931E5-77AA-4DB3-89F8-C998915FA3E6}" type="presParOf" srcId="{1E0D239A-F268-484F-A8A8-9AE8A68645C8}" destId="{D91C4D02-9AF6-4140-AA2D-C6D14B102305}" srcOrd="1" destOrd="0" presId="urn:microsoft.com/office/officeart/2008/layout/VerticalCurvedList"/>
    <dgm:cxn modelId="{7C8C1602-0CCD-456F-BFD7-921BC300733B}" type="presParOf" srcId="{1E0D239A-F268-484F-A8A8-9AE8A68645C8}" destId="{241542C4-F902-4105-A838-61F0B5AC38FC}" srcOrd="2" destOrd="0" presId="urn:microsoft.com/office/officeart/2008/layout/VerticalCurvedList"/>
    <dgm:cxn modelId="{00FC4FB6-8499-4E2F-8FDE-0C5EB00AAE80}" type="presParOf" srcId="{241542C4-F902-4105-A838-61F0B5AC38FC}" destId="{CBAE2D19-C32B-4207-949A-9AD32DDEC317}" srcOrd="0" destOrd="0" presId="urn:microsoft.com/office/officeart/2008/layout/VerticalCurvedList"/>
    <dgm:cxn modelId="{83E9B8BC-E552-46CE-B8EE-0B03840AF154}" type="presParOf" srcId="{1E0D239A-F268-484F-A8A8-9AE8A68645C8}" destId="{F723B43D-83AE-4B2E-88EB-5058AFE008B7}" srcOrd="3" destOrd="0" presId="urn:microsoft.com/office/officeart/2008/layout/VerticalCurvedList"/>
    <dgm:cxn modelId="{27AF964A-C7C8-4210-8DE3-FEA916151561}" type="presParOf" srcId="{1E0D239A-F268-484F-A8A8-9AE8A68645C8}" destId="{9F33682C-D17B-4F9D-A204-E45ACF84C99B}" srcOrd="4" destOrd="0" presId="urn:microsoft.com/office/officeart/2008/layout/VerticalCurvedList"/>
    <dgm:cxn modelId="{6DC5F495-35D3-4C40-ACAB-6AE4B54EE863}" type="presParOf" srcId="{9F33682C-D17B-4F9D-A204-E45ACF84C99B}" destId="{7CF9BBDB-6531-44DB-A945-C90B16533F62}" srcOrd="0" destOrd="0" presId="urn:microsoft.com/office/officeart/2008/layout/VerticalCurvedList"/>
    <dgm:cxn modelId="{955C95FE-8714-4BA9-BC11-5431EF9CA3A5}" type="presParOf" srcId="{1E0D239A-F268-484F-A8A8-9AE8A68645C8}" destId="{3F33C9C5-6B76-48B0-84EA-B1448E3F36ED}" srcOrd="5" destOrd="0" presId="urn:microsoft.com/office/officeart/2008/layout/VerticalCurvedList"/>
    <dgm:cxn modelId="{B9E18311-12CC-42F9-B438-D4D67B20BC8B}" type="presParOf" srcId="{1E0D239A-F268-484F-A8A8-9AE8A68645C8}" destId="{8431CDC4-9E7A-4FB5-99C2-F6BB600D54E3}" srcOrd="6" destOrd="0" presId="urn:microsoft.com/office/officeart/2008/layout/VerticalCurvedList"/>
    <dgm:cxn modelId="{12E66CD5-2CDC-4213-B63F-B1EADAEE43B4}" type="presParOf" srcId="{8431CDC4-9E7A-4FB5-99C2-F6BB600D54E3}" destId="{CD58E607-BF34-4F57-A4AE-1EC9DE28605C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37AA8EB-F146-4F19-9205-49DB999B292A}" type="doc">
      <dgm:prSet loTypeId="urn:microsoft.com/office/officeart/2005/8/layout/venn1" loCatId="relationship" qsTypeId="urn:microsoft.com/office/officeart/2005/8/quickstyle/simple1" qsCatId="simple" csTypeId="urn:microsoft.com/office/officeart/2005/8/colors/colorful1" csCatId="colorful" phldr="1"/>
      <dgm:spPr/>
    </dgm:pt>
    <dgm:pt modelId="{3E5D72D0-C663-4970-9C45-0F792F86A3FC}">
      <dgm:prSet phldrT="[Text]" custT="1"/>
      <dgm:spPr/>
      <dgm:t>
        <a:bodyPr/>
        <a:lstStyle/>
        <a:p>
          <a:r>
            <a:rPr lang="th-TH" sz="20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นโยบาย</a:t>
          </a:r>
          <a:endParaRPr lang="en-US" sz="20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892DF824-B60A-4BB1-9BE0-AFAB33C55A85}" type="parTrans" cxnId="{8027C83F-B6CE-4297-A988-9CA5CEF189A2}">
      <dgm:prSet/>
      <dgm:spPr/>
      <dgm:t>
        <a:bodyPr/>
        <a:lstStyle/>
        <a:p>
          <a:endParaRPr lang="en-US" sz="10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15A7129-D27B-4996-8693-679DE24DF77A}" type="sibTrans" cxnId="{8027C83F-B6CE-4297-A988-9CA5CEF189A2}">
      <dgm:prSet/>
      <dgm:spPr/>
      <dgm:t>
        <a:bodyPr/>
        <a:lstStyle/>
        <a:p>
          <a:endParaRPr lang="en-US" sz="10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F9FB284F-C405-4E4F-A036-1FF021494FA1}">
      <dgm:prSet phldrT="[Text]" custT="1"/>
      <dgm:spPr/>
      <dgm:t>
        <a:bodyPr/>
        <a:lstStyle/>
        <a:p>
          <a:r>
            <a:rPr lang="th-TH" sz="20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ปฏิบัติ</a:t>
          </a:r>
          <a:endParaRPr lang="en-US" sz="20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30C8F027-45FA-46A9-8A93-77D558FC83E5}" type="parTrans" cxnId="{675C6025-8746-4090-820A-4D16C99A7AAF}">
      <dgm:prSet/>
      <dgm:spPr/>
      <dgm:t>
        <a:bodyPr/>
        <a:lstStyle/>
        <a:p>
          <a:endParaRPr lang="en-US" sz="10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E61B55B7-B967-4A9A-9BE9-2C3882842D22}" type="sibTrans" cxnId="{675C6025-8746-4090-820A-4D16C99A7AAF}">
      <dgm:prSet/>
      <dgm:spPr/>
      <dgm:t>
        <a:bodyPr/>
        <a:lstStyle/>
        <a:p>
          <a:endParaRPr lang="en-US" sz="10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497527CF-D22E-4AB6-A9B5-7AC2A43834AC}">
      <dgm:prSet phldrT="[Text]" custT="1"/>
      <dgm:spPr/>
      <dgm:t>
        <a:bodyPr/>
        <a:lstStyle/>
        <a:p>
          <a:r>
            <a:rPr lang="th-TH" sz="20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กำกับ</a:t>
          </a:r>
          <a:endParaRPr lang="en-US" sz="20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70CFA8F9-90AD-4BE2-BF22-BD0CFE2BAF41}" type="parTrans" cxnId="{563B594F-FE6A-448D-AE52-6A5EDD77FDAD}">
      <dgm:prSet/>
      <dgm:spPr/>
      <dgm:t>
        <a:bodyPr/>
        <a:lstStyle/>
        <a:p>
          <a:endParaRPr lang="en-US" sz="10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DA81A822-795B-4FFE-ABB7-9011296A025A}" type="sibTrans" cxnId="{563B594F-FE6A-448D-AE52-6A5EDD77FDAD}">
      <dgm:prSet/>
      <dgm:spPr/>
      <dgm:t>
        <a:bodyPr/>
        <a:lstStyle/>
        <a:p>
          <a:endParaRPr lang="en-US" sz="100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AA0A96BA-FAE2-4B74-994B-472D2175F5D8}" type="pres">
      <dgm:prSet presAssocID="{E37AA8EB-F146-4F19-9205-49DB999B292A}" presName="compositeShape" presStyleCnt="0">
        <dgm:presLayoutVars>
          <dgm:chMax val="7"/>
          <dgm:dir/>
          <dgm:resizeHandles val="exact"/>
        </dgm:presLayoutVars>
      </dgm:prSet>
      <dgm:spPr/>
    </dgm:pt>
    <dgm:pt modelId="{E4264394-B414-40A0-834E-F8E46902F512}" type="pres">
      <dgm:prSet presAssocID="{3E5D72D0-C663-4970-9C45-0F792F86A3FC}" presName="circ1" presStyleLbl="vennNode1" presStyleIdx="0" presStyleCnt="3"/>
      <dgm:spPr/>
      <dgm:t>
        <a:bodyPr/>
        <a:lstStyle/>
        <a:p>
          <a:endParaRPr lang="en-US"/>
        </a:p>
      </dgm:t>
    </dgm:pt>
    <dgm:pt modelId="{4710204D-65A9-4512-9479-312E66C2C830}" type="pres">
      <dgm:prSet presAssocID="{3E5D72D0-C663-4970-9C45-0F792F86A3FC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B1900CA-EC10-4BC2-BFBB-6A4AFC6274AD}" type="pres">
      <dgm:prSet presAssocID="{F9FB284F-C405-4E4F-A036-1FF021494FA1}" presName="circ2" presStyleLbl="vennNode1" presStyleIdx="1" presStyleCnt="3"/>
      <dgm:spPr/>
      <dgm:t>
        <a:bodyPr/>
        <a:lstStyle/>
        <a:p>
          <a:endParaRPr lang="en-US"/>
        </a:p>
      </dgm:t>
    </dgm:pt>
    <dgm:pt modelId="{61EC7F6F-A650-4A76-8365-4481D7C45BA0}" type="pres">
      <dgm:prSet presAssocID="{F9FB284F-C405-4E4F-A036-1FF021494FA1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F3E0B09-2E4B-4F86-AFE8-981A3DE5E776}" type="pres">
      <dgm:prSet presAssocID="{497527CF-D22E-4AB6-A9B5-7AC2A43834AC}" presName="circ3" presStyleLbl="vennNode1" presStyleIdx="2" presStyleCnt="3"/>
      <dgm:spPr/>
      <dgm:t>
        <a:bodyPr/>
        <a:lstStyle/>
        <a:p>
          <a:endParaRPr lang="en-US"/>
        </a:p>
      </dgm:t>
    </dgm:pt>
    <dgm:pt modelId="{B2FF3720-01BE-4DFC-887D-55D397440435}" type="pres">
      <dgm:prSet presAssocID="{497527CF-D22E-4AB6-A9B5-7AC2A43834AC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562F3E8-4963-449F-AB7F-52C49BEF4B42}" type="presOf" srcId="{497527CF-D22E-4AB6-A9B5-7AC2A43834AC}" destId="{B2FF3720-01BE-4DFC-887D-55D397440435}" srcOrd="1" destOrd="0" presId="urn:microsoft.com/office/officeart/2005/8/layout/venn1"/>
    <dgm:cxn modelId="{675C6025-8746-4090-820A-4D16C99A7AAF}" srcId="{E37AA8EB-F146-4F19-9205-49DB999B292A}" destId="{F9FB284F-C405-4E4F-A036-1FF021494FA1}" srcOrd="1" destOrd="0" parTransId="{30C8F027-45FA-46A9-8A93-77D558FC83E5}" sibTransId="{E61B55B7-B967-4A9A-9BE9-2C3882842D22}"/>
    <dgm:cxn modelId="{2C0DB61B-396D-4706-BA57-6C4598311531}" type="presOf" srcId="{497527CF-D22E-4AB6-A9B5-7AC2A43834AC}" destId="{3F3E0B09-2E4B-4F86-AFE8-981A3DE5E776}" srcOrd="0" destOrd="0" presId="urn:microsoft.com/office/officeart/2005/8/layout/venn1"/>
    <dgm:cxn modelId="{77BD7636-D3EA-41CB-A6F4-67D1DDDE3EAC}" type="presOf" srcId="{F9FB284F-C405-4E4F-A036-1FF021494FA1}" destId="{9B1900CA-EC10-4BC2-BFBB-6A4AFC6274AD}" srcOrd="0" destOrd="0" presId="urn:microsoft.com/office/officeart/2005/8/layout/venn1"/>
    <dgm:cxn modelId="{1EE513C2-4602-4608-B6E2-C34E6090EB69}" type="presOf" srcId="{F9FB284F-C405-4E4F-A036-1FF021494FA1}" destId="{61EC7F6F-A650-4A76-8365-4481D7C45BA0}" srcOrd="1" destOrd="0" presId="urn:microsoft.com/office/officeart/2005/8/layout/venn1"/>
    <dgm:cxn modelId="{563B594F-FE6A-448D-AE52-6A5EDD77FDAD}" srcId="{E37AA8EB-F146-4F19-9205-49DB999B292A}" destId="{497527CF-D22E-4AB6-A9B5-7AC2A43834AC}" srcOrd="2" destOrd="0" parTransId="{70CFA8F9-90AD-4BE2-BF22-BD0CFE2BAF41}" sibTransId="{DA81A822-795B-4FFE-ABB7-9011296A025A}"/>
    <dgm:cxn modelId="{54FC910C-6DBA-4F96-ADF3-E0E0EF44FD95}" type="presOf" srcId="{3E5D72D0-C663-4970-9C45-0F792F86A3FC}" destId="{E4264394-B414-40A0-834E-F8E46902F512}" srcOrd="0" destOrd="0" presId="urn:microsoft.com/office/officeart/2005/8/layout/venn1"/>
    <dgm:cxn modelId="{8027C83F-B6CE-4297-A988-9CA5CEF189A2}" srcId="{E37AA8EB-F146-4F19-9205-49DB999B292A}" destId="{3E5D72D0-C663-4970-9C45-0F792F86A3FC}" srcOrd="0" destOrd="0" parTransId="{892DF824-B60A-4BB1-9BE0-AFAB33C55A85}" sibTransId="{B15A7129-D27B-4996-8693-679DE24DF77A}"/>
    <dgm:cxn modelId="{AD0118DD-5E92-49A8-BE0D-39BBC5F9A880}" type="presOf" srcId="{3E5D72D0-C663-4970-9C45-0F792F86A3FC}" destId="{4710204D-65A9-4512-9479-312E66C2C830}" srcOrd="1" destOrd="0" presId="urn:microsoft.com/office/officeart/2005/8/layout/venn1"/>
    <dgm:cxn modelId="{32E88084-39ED-4458-A349-F2E4C6FF176E}" type="presOf" srcId="{E37AA8EB-F146-4F19-9205-49DB999B292A}" destId="{AA0A96BA-FAE2-4B74-994B-472D2175F5D8}" srcOrd="0" destOrd="0" presId="urn:microsoft.com/office/officeart/2005/8/layout/venn1"/>
    <dgm:cxn modelId="{191DBEF8-753B-4A08-994F-92747CDEF10A}" type="presParOf" srcId="{AA0A96BA-FAE2-4B74-994B-472D2175F5D8}" destId="{E4264394-B414-40A0-834E-F8E46902F512}" srcOrd="0" destOrd="0" presId="urn:microsoft.com/office/officeart/2005/8/layout/venn1"/>
    <dgm:cxn modelId="{F446EE3E-702E-410A-BB93-4527F367EE8D}" type="presParOf" srcId="{AA0A96BA-FAE2-4B74-994B-472D2175F5D8}" destId="{4710204D-65A9-4512-9479-312E66C2C830}" srcOrd="1" destOrd="0" presId="urn:microsoft.com/office/officeart/2005/8/layout/venn1"/>
    <dgm:cxn modelId="{C9AC007A-0F2F-45AB-9E07-10134DC96632}" type="presParOf" srcId="{AA0A96BA-FAE2-4B74-994B-472D2175F5D8}" destId="{9B1900CA-EC10-4BC2-BFBB-6A4AFC6274AD}" srcOrd="2" destOrd="0" presId="urn:microsoft.com/office/officeart/2005/8/layout/venn1"/>
    <dgm:cxn modelId="{777629E7-36B6-44B5-BA50-C2E98607E8F1}" type="presParOf" srcId="{AA0A96BA-FAE2-4B74-994B-472D2175F5D8}" destId="{61EC7F6F-A650-4A76-8365-4481D7C45BA0}" srcOrd="3" destOrd="0" presId="urn:microsoft.com/office/officeart/2005/8/layout/venn1"/>
    <dgm:cxn modelId="{E12802CB-FCFE-493F-8603-E9AF2F1704C8}" type="presParOf" srcId="{AA0A96BA-FAE2-4B74-994B-472D2175F5D8}" destId="{3F3E0B09-2E4B-4F86-AFE8-981A3DE5E776}" srcOrd="4" destOrd="0" presId="urn:microsoft.com/office/officeart/2005/8/layout/venn1"/>
    <dgm:cxn modelId="{391D2238-F39F-4C40-8F9C-669BBA3F9E41}" type="presParOf" srcId="{AA0A96BA-FAE2-4B74-994B-472D2175F5D8}" destId="{B2FF3720-01BE-4DFC-887D-55D397440435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8120413-56CC-4344-82A6-8DD08D5138B9}" type="doc">
      <dgm:prSet loTypeId="urn:microsoft.com/office/officeart/2009/3/layout/CircleRelationship" loCatId="relationship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DF7BEDBE-72A1-4505-BA19-EC5D5D259AAC}">
      <dgm:prSet phldrT="[Text]" custT="1"/>
      <dgm:spPr/>
      <dgm:t>
        <a:bodyPr/>
        <a:lstStyle/>
        <a:p>
          <a:r>
            <a:rPr lang="th-TH" sz="28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อาสาสมัคร</a:t>
          </a:r>
          <a:r>
            <a:rPr lang="th-TH" sz="28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พลังงานกว่า</a:t>
          </a:r>
          <a:endParaRPr lang="th-TH" sz="2800" dirty="0" smtClean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  <a:p>
          <a:r>
            <a:rPr lang="th-TH" sz="28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20,000 คน</a:t>
          </a:r>
          <a:endParaRPr lang="en-US" sz="28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A89F2FEA-84AF-4D69-956E-6D6C34415D23}" type="parTrans" cxnId="{086D53AE-76F8-4ADB-B76E-ACB10DC7F2F6}">
      <dgm:prSet/>
      <dgm:spPr/>
      <dgm:t>
        <a:bodyPr/>
        <a:lstStyle/>
        <a:p>
          <a:endParaRPr lang="en-US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F5C6DD4-69C2-46AD-B8F8-A9DF5C063588}" type="sibTrans" cxnId="{086D53AE-76F8-4ADB-B76E-ACB10DC7F2F6}">
      <dgm:prSet/>
      <dgm:spPr/>
      <dgm:t>
        <a:bodyPr/>
        <a:lstStyle/>
        <a:p>
          <a:endParaRPr lang="en-US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1D789B0B-A7D9-4A34-B547-9E94768E6DAA}">
      <dgm:prSet phldrT="[Text]" custT="1"/>
      <dgm:spPr/>
      <dgm:t>
        <a:bodyPr/>
        <a:lstStyle/>
        <a:p>
          <a:r>
            <a:rPr lang="th-TH" sz="20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เยาวชนและเครือข่าย</a:t>
          </a:r>
          <a:br>
            <a:rPr lang="th-TH" sz="20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</a:br>
          <a:r>
            <a:rPr lang="th-TH" sz="20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เจตคติที่ดีต่อพลังงาน </a:t>
          </a:r>
          <a:r>
            <a:rPr lang="th-TH" sz="16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2</a:t>
          </a:r>
          <a:r>
            <a:rPr lang="en-US" sz="16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,</a:t>
          </a:r>
          <a:r>
            <a:rPr lang="th-TH" sz="16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160 คน</a:t>
          </a:r>
          <a:endParaRPr lang="en-US" sz="1600" b="1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D90FD194-52D5-487A-A973-6DB26B73FCF4}" type="parTrans" cxnId="{0D6AA0B3-B812-4DFC-A352-D35887076B86}">
      <dgm:prSet/>
      <dgm:spPr/>
      <dgm:t>
        <a:bodyPr/>
        <a:lstStyle/>
        <a:p>
          <a:endParaRPr lang="en-US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506C475B-83F8-4F30-AAA1-02E1D3C5FA2E}" type="sibTrans" cxnId="{0D6AA0B3-B812-4DFC-A352-D35887076B86}">
      <dgm:prSet/>
      <dgm:spPr/>
      <dgm:t>
        <a:bodyPr/>
        <a:lstStyle/>
        <a:p>
          <a:endParaRPr lang="en-US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BAA8A14E-8B35-4310-BD7D-E9A89DDC7436}">
      <dgm:prSet phldrT="[Text]"/>
      <dgm:spPr/>
      <dgm:t>
        <a:bodyPr/>
        <a:lstStyle/>
        <a:p>
          <a:r>
            <a:rPr lang="th-TH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ครูวิทยาศาสตร์ (</a:t>
          </a:r>
          <a:r>
            <a:rPr lang="en-US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STEM</a:t>
          </a:r>
          <a:r>
            <a:rPr lang="th-TH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) สอนวิชาพลังงาน </a:t>
          </a:r>
          <a:r>
            <a:rPr lang="th-TH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1</a:t>
          </a:r>
          <a:r>
            <a:rPr lang="en-US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,</a:t>
          </a:r>
          <a:r>
            <a:rPr lang="th-TH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800 คน</a:t>
          </a:r>
          <a:endParaRPr lang="en-US" b="1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551428D3-5292-488C-857F-E4A58C2999DC}" type="parTrans" cxnId="{A40806A1-D164-4792-AF34-EC8CB82A736E}">
      <dgm:prSet/>
      <dgm:spPr/>
      <dgm:t>
        <a:bodyPr/>
        <a:lstStyle/>
        <a:p>
          <a:endParaRPr lang="en-US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A8C5F42-2914-48FC-ADAC-3B4BA2D0EFD8}" type="sibTrans" cxnId="{A40806A1-D164-4792-AF34-EC8CB82A736E}">
      <dgm:prSet/>
      <dgm:spPr/>
      <dgm:t>
        <a:bodyPr/>
        <a:lstStyle/>
        <a:p>
          <a:endParaRPr lang="en-US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F7AA0CD4-C55D-4BFB-9DBD-03E9922C64BE}">
      <dgm:prSet phldrT="[Text]"/>
      <dgm:spPr/>
      <dgm:t>
        <a:bodyPr/>
        <a:lstStyle/>
        <a:p>
          <a:r>
            <a:rPr lang="th-TH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ครู กศน. วิชาชีพพลังงาน </a:t>
          </a:r>
          <a:r>
            <a:rPr lang="th-TH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500 คน</a:t>
          </a:r>
          <a:endParaRPr lang="en-US" b="1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65F9B63A-EA86-4AC2-9528-EC1C8677EFA1}" type="parTrans" cxnId="{46574218-7314-41CC-A1AB-4065DCBAC5EE}">
      <dgm:prSet/>
      <dgm:spPr/>
      <dgm:t>
        <a:bodyPr/>
        <a:lstStyle/>
        <a:p>
          <a:endParaRPr lang="en-US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9AC5481C-2B8F-4FC1-904F-E034800BB3B0}" type="sibTrans" cxnId="{46574218-7314-41CC-A1AB-4065DCBAC5EE}">
      <dgm:prSet/>
      <dgm:spPr/>
      <dgm:t>
        <a:bodyPr/>
        <a:lstStyle/>
        <a:p>
          <a:endParaRPr lang="en-US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gm:t>
    </dgm:pt>
    <dgm:pt modelId="{12A98985-5A5C-4A56-93CF-073F8CFA123E}" type="pres">
      <dgm:prSet presAssocID="{C8120413-56CC-4344-82A6-8DD08D5138B9}" presName="Name0" presStyleCnt="0">
        <dgm:presLayoutVars>
          <dgm:chMax val="1"/>
          <dgm:chPref val="1"/>
        </dgm:presLayoutVars>
      </dgm:prSet>
      <dgm:spPr/>
      <dgm:t>
        <a:bodyPr/>
        <a:lstStyle/>
        <a:p>
          <a:endParaRPr lang="en-US"/>
        </a:p>
      </dgm:t>
    </dgm:pt>
    <dgm:pt modelId="{1785139C-0FA7-4AA5-BD7D-B587D9046B02}" type="pres">
      <dgm:prSet presAssocID="{DF7BEDBE-72A1-4505-BA19-EC5D5D259AAC}" presName="Parent" presStyleLbl="node0" presStyleIdx="0" presStyleCnt="1">
        <dgm:presLayoutVars>
          <dgm:chMax val="5"/>
          <dgm:chPref val="5"/>
        </dgm:presLayoutVars>
      </dgm:prSet>
      <dgm:spPr/>
      <dgm:t>
        <a:bodyPr/>
        <a:lstStyle/>
        <a:p>
          <a:endParaRPr lang="en-US"/>
        </a:p>
      </dgm:t>
    </dgm:pt>
    <dgm:pt modelId="{B46FE9DA-BF04-4A51-B287-EF660CBF0D42}" type="pres">
      <dgm:prSet presAssocID="{DF7BEDBE-72A1-4505-BA19-EC5D5D259AAC}" presName="Accent1" presStyleLbl="node1" presStyleIdx="0" presStyleCnt="15"/>
      <dgm:spPr/>
    </dgm:pt>
    <dgm:pt modelId="{941A5276-78F3-49EA-9D3D-61F4D36BBFB9}" type="pres">
      <dgm:prSet presAssocID="{DF7BEDBE-72A1-4505-BA19-EC5D5D259AAC}" presName="Accent2" presStyleLbl="node1" presStyleIdx="1" presStyleCnt="15"/>
      <dgm:spPr/>
    </dgm:pt>
    <dgm:pt modelId="{B5805134-594F-42DB-B834-80776CC09529}" type="pres">
      <dgm:prSet presAssocID="{DF7BEDBE-72A1-4505-BA19-EC5D5D259AAC}" presName="Accent3" presStyleLbl="node1" presStyleIdx="2" presStyleCnt="15"/>
      <dgm:spPr/>
    </dgm:pt>
    <dgm:pt modelId="{0799BCC1-5DFE-42DF-8C95-89DF951B56B9}" type="pres">
      <dgm:prSet presAssocID="{DF7BEDBE-72A1-4505-BA19-EC5D5D259AAC}" presName="Accent4" presStyleLbl="node1" presStyleIdx="3" presStyleCnt="15" custScaleX="131307" custScaleY="131307"/>
      <dgm:spPr/>
    </dgm:pt>
    <dgm:pt modelId="{13685211-CE79-47AF-950F-FCA614262C75}" type="pres">
      <dgm:prSet presAssocID="{DF7BEDBE-72A1-4505-BA19-EC5D5D259AAC}" presName="Accent5" presStyleLbl="node1" presStyleIdx="4" presStyleCnt="15"/>
      <dgm:spPr/>
    </dgm:pt>
    <dgm:pt modelId="{FEBCB1E8-B51C-478F-8315-0F6CA2981510}" type="pres">
      <dgm:prSet presAssocID="{DF7BEDBE-72A1-4505-BA19-EC5D5D259AAC}" presName="Accent6" presStyleLbl="node1" presStyleIdx="5" presStyleCnt="15"/>
      <dgm:spPr/>
    </dgm:pt>
    <dgm:pt modelId="{C159362C-42BC-403D-BA02-3BEB92C5F9D7}" type="pres">
      <dgm:prSet presAssocID="{1D789B0B-A7D9-4A34-B547-9E94768E6DAA}" presName="Child1" presStyleLbl="node1" presStyleIdx="6" presStyleCnt="15" custScaleX="138313" custScaleY="136374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4D168B1B-FFDF-44B2-8B21-0990B2280FF6}" type="pres">
      <dgm:prSet presAssocID="{1D789B0B-A7D9-4A34-B547-9E94768E6DAA}" presName="Accent7" presStyleCnt="0"/>
      <dgm:spPr/>
    </dgm:pt>
    <dgm:pt modelId="{2A1B67D8-5763-4762-B0A2-07BA379A8420}" type="pres">
      <dgm:prSet presAssocID="{1D789B0B-A7D9-4A34-B547-9E94768E6DAA}" presName="AccentHold1" presStyleLbl="node1" presStyleIdx="7" presStyleCnt="15"/>
      <dgm:spPr/>
    </dgm:pt>
    <dgm:pt modelId="{2EFE27D1-7D11-44F2-9658-9C6BEE041FD0}" type="pres">
      <dgm:prSet presAssocID="{1D789B0B-A7D9-4A34-B547-9E94768E6DAA}" presName="Accent8" presStyleCnt="0"/>
      <dgm:spPr/>
    </dgm:pt>
    <dgm:pt modelId="{3DEB8AB2-FA37-4299-B57D-01D4FD4C632F}" type="pres">
      <dgm:prSet presAssocID="{1D789B0B-A7D9-4A34-B547-9E94768E6DAA}" presName="AccentHold2" presStyleLbl="node1" presStyleIdx="8" presStyleCnt="15"/>
      <dgm:spPr/>
    </dgm:pt>
    <dgm:pt modelId="{085AF093-D35F-4838-8124-16C2BCD15A3C}" type="pres">
      <dgm:prSet presAssocID="{BAA8A14E-8B35-4310-BD7D-E9A89DDC7436}" presName="Child2" presStyleLbl="node1" presStyleIdx="9" presStyleCnt="15" custScaleX="114128" custScaleY="110420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C2F817E3-5611-43C6-9515-C187D364C054}" type="pres">
      <dgm:prSet presAssocID="{BAA8A14E-8B35-4310-BD7D-E9A89DDC7436}" presName="Accent9" presStyleCnt="0"/>
      <dgm:spPr/>
    </dgm:pt>
    <dgm:pt modelId="{6D0073A7-7FDB-4C5F-BB24-4F1B047E5443}" type="pres">
      <dgm:prSet presAssocID="{BAA8A14E-8B35-4310-BD7D-E9A89DDC7436}" presName="AccentHold1" presStyleLbl="node1" presStyleIdx="10" presStyleCnt="15"/>
      <dgm:spPr/>
    </dgm:pt>
    <dgm:pt modelId="{339B174C-3272-4772-9460-7D49A4B62828}" type="pres">
      <dgm:prSet presAssocID="{BAA8A14E-8B35-4310-BD7D-E9A89DDC7436}" presName="Accent10" presStyleCnt="0"/>
      <dgm:spPr/>
    </dgm:pt>
    <dgm:pt modelId="{7C79AB2B-0531-4235-94E3-2E7605EAC9D2}" type="pres">
      <dgm:prSet presAssocID="{BAA8A14E-8B35-4310-BD7D-E9A89DDC7436}" presName="AccentHold2" presStyleLbl="node1" presStyleIdx="11" presStyleCnt="15"/>
      <dgm:spPr/>
    </dgm:pt>
    <dgm:pt modelId="{97358651-3A08-45FB-B6D5-E346CDA84305}" type="pres">
      <dgm:prSet presAssocID="{BAA8A14E-8B35-4310-BD7D-E9A89DDC7436}" presName="Accent11" presStyleCnt="0"/>
      <dgm:spPr/>
    </dgm:pt>
    <dgm:pt modelId="{72D61A67-E42A-4F96-AF87-1E14B43D1DC8}" type="pres">
      <dgm:prSet presAssocID="{BAA8A14E-8B35-4310-BD7D-E9A89DDC7436}" presName="AccentHold3" presStyleLbl="node1" presStyleIdx="12" presStyleCnt="15"/>
      <dgm:spPr/>
    </dgm:pt>
    <dgm:pt modelId="{68F1604D-8F5D-4D9D-8CF3-B5F0F64B4548}" type="pres">
      <dgm:prSet presAssocID="{F7AA0CD4-C55D-4BFB-9DBD-03E9922C64BE}" presName="Child3" presStyleLbl="node1" presStyleIdx="13" presStyleCnt="15">
        <dgm:presLayoutVars>
          <dgm:chMax val="0"/>
          <dgm:chPref val="0"/>
        </dgm:presLayoutVars>
      </dgm:prSet>
      <dgm:spPr/>
      <dgm:t>
        <a:bodyPr/>
        <a:lstStyle/>
        <a:p>
          <a:endParaRPr lang="en-US"/>
        </a:p>
      </dgm:t>
    </dgm:pt>
    <dgm:pt modelId="{B3C1CDD0-1596-404A-AEA0-EFE0CCEBF94F}" type="pres">
      <dgm:prSet presAssocID="{F7AA0CD4-C55D-4BFB-9DBD-03E9922C64BE}" presName="Accent12" presStyleCnt="0"/>
      <dgm:spPr/>
    </dgm:pt>
    <dgm:pt modelId="{9CB75ADB-B082-4585-9866-7206C9848526}" type="pres">
      <dgm:prSet presAssocID="{F7AA0CD4-C55D-4BFB-9DBD-03E9922C64BE}" presName="AccentHold1" presStyleLbl="node1" presStyleIdx="14" presStyleCnt="15"/>
      <dgm:spPr/>
    </dgm:pt>
  </dgm:ptLst>
  <dgm:cxnLst>
    <dgm:cxn modelId="{0D6AA0B3-B812-4DFC-A352-D35887076B86}" srcId="{DF7BEDBE-72A1-4505-BA19-EC5D5D259AAC}" destId="{1D789B0B-A7D9-4A34-B547-9E94768E6DAA}" srcOrd="0" destOrd="0" parTransId="{D90FD194-52D5-487A-A973-6DB26B73FCF4}" sibTransId="{506C475B-83F8-4F30-AAA1-02E1D3C5FA2E}"/>
    <dgm:cxn modelId="{F401DB7D-7611-4759-83D2-9B558D52E48D}" type="presOf" srcId="{1D789B0B-A7D9-4A34-B547-9E94768E6DAA}" destId="{C159362C-42BC-403D-BA02-3BEB92C5F9D7}" srcOrd="0" destOrd="0" presId="urn:microsoft.com/office/officeart/2009/3/layout/CircleRelationship"/>
    <dgm:cxn modelId="{46574218-7314-41CC-A1AB-4065DCBAC5EE}" srcId="{DF7BEDBE-72A1-4505-BA19-EC5D5D259AAC}" destId="{F7AA0CD4-C55D-4BFB-9DBD-03E9922C64BE}" srcOrd="2" destOrd="0" parTransId="{65F9B63A-EA86-4AC2-9528-EC1C8677EFA1}" sibTransId="{9AC5481C-2B8F-4FC1-904F-E034800BB3B0}"/>
    <dgm:cxn modelId="{A40806A1-D164-4792-AF34-EC8CB82A736E}" srcId="{DF7BEDBE-72A1-4505-BA19-EC5D5D259AAC}" destId="{BAA8A14E-8B35-4310-BD7D-E9A89DDC7436}" srcOrd="1" destOrd="0" parTransId="{551428D3-5292-488C-857F-E4A58C2999DC}" sibTransId="{6A8C5F42-2914-48FC-ADAC-3B4BA2D0EFD8}"/>
    <dgm:cxn modelId="{71130C98-47DB-4AF6-8C72-884C21DF8FF2}" type="presOf" srcId="{BAA8A14E-8B35-4310-BD7D-E9A89DDC7436}" destId="{085AF093-D35F-4838-8124-16C2BCD15A3C}" srcOrd="0" destOrd="0" presId="urn:microsoft.com/office/officeart/2009/3/layout/CircleRelationship"/>
    <dgm:cxn modelId="{086D53AE-76F8-4ADB-B76E-ACB10DC7F2F6}" srcId="{C8120413-56CC-4344-82A6-8DD08D5138B9}" destId="{DF7BEDBE-72A1-4505-BA19-EC5D5D259AAC}" srcOrd="0" destOrd="0" parTransId="{A89F2FEA-84AF-4D69-956E-6D6C34415D23}" sibTransId="{6F5C6DD4-69C2-46AD-B8F8-A9DF5C063588}"/>
    <dgm:cxn modelId="{012A430D-B90E-4437-B5B6-CBD57625967F}" type="presOf" srcId="{DF7BEDBE-72A1-4505-BA19-EC5D5D259AAC}" destId="{1785139C-0FA7-4AA5-BD7D-B587D9046B02}" srcOrd="0" destOrd="0" presId="urn:microsoft.com/office/officeart/2009/3/layout/CircleRelationship"/>
    <dgm:cxn modelId="{85ACD5C6-01A0-4F14-B72B-2E756E4CE114}" type="presOf" srcId="{F7AA0CD4-C55D-4BFB-9DBD-03E9922C64BE}" destId="{68F1604D-8F5D-4D9D-8CF3-B5F0F64B4548}" srcOrd="0" destOrd="0" presId="urn:microsoft.com/office/officeart/2009/3/layout/CircleRelationship"/>
    <dgm:cxn modelId="{EB042F97-4228-4773-B722-216C615B77E8}" type="presOf" srcId="{C8120413-56CC-4344-82A6-8DD08D5138B9}" destId="{12A98985-5A5C-4A56-93CF-073F8CFA123E}" srcOrd="0" destOrd="0" presId="urn:microsoft.com/office/officeart/2009/3/layout/CircleRelationship"/>
    <dgm:cxn modelId="{D9525404-0F11-4CCB-9BD8-5B51DB689BC3}" type="presParOf" srcId="{12A98985-5A5C-4A56-93CF-073F8CFA123E}" destId="{1785139C-0FA7-4AA5-BD7D-B587D9046B02}" srcOrd="0" destOrd="0" presId="urn:microsoft.com/office/officeart/2009/3/layout/CircleRelationship"/>
    <dgm:cxn modelId="{41CD9A09-5640-4C89-9EAC-2169694878D4}" type="presParOf" srcId="{12A98985-5A5C-4A56-93CF-073F8CFA123E}" destId="{B46FE9DA-BF04-4A51-B287-EF660CBF0D42}" srcOrd="1" destOrd="0" presId="urn:microsoft.com/office/officeart/2009/3/layout/CircleRelationship"/>
    <dgm:cxn modelId="{DAFE14A1-95C0-4F5A-BFE2-5D54D42B5A5D}" type="presParOf" srcId="{12A98985-5A5C-4A56-93CF-073F8CFA123E}" destId="{941A5276-78F3-49EA-9D3D-61F4D36BBFB9}" srcOrd="2" destOrd="0" presId="urn:microsoft.com/office/officeart/2009/3/layout/CircleRelationship"/>
    <dgm:cxn modelId="{52ACB9F8-8ABC-4156-AA8E-3AF215DABE23}" type="presParOf" srcId="{12A98985-5A5C-4A56-93CF-073F8CFA123E}" destId="{B5805134-594F-42DB-B834-80776CC09529}" srcOrd="3" destOrd="0" presId="urn:microsoft.com/office/officeart/2009/3/layout/CircleRelationship"/>
    <dgm:cxn modelId="{8D431E62-6C23-4F8A-93A5-89E6514A3F5A}" type="presParOf" srcId="{12A98985-5A5C-4A56-93CF-073F8CFA123E}" destId="{0799BCC1-5DFE-42DF-8C95-89DF951B56B9}" srcOrd="4" destOrd="0" presId="urn:microsoft.com/office/officeart/2009/3/layout/CircleRelationship"/>
    <dgm:cxn modelId="{02B4DC21-78AC-40C8-9083-1AB125EFC230}" type="presParOf" srcId="{12A98985-5A5C-4A56-93CF-073F8CFA123E}" destId="{13685211-CE79-47AF-950F-FCA614262C75}" srcOrd="5" destOrd="0" presId="urn:microsoft.com/office/officeart/2009/3/layout/CircleRelationship"/>
    <dgm:cxn modelId="{0F0FD4B7-E66C-4FE9-A985-54C0E5EDF9F0}" type="presParOf" srcId="{12A98985-5A5C-4A56-93CF-073F8CFA123E}" destId="{FEBCB1E8-B51C-478F-8315-0F6CA2981510}" srcOrd="6" destOrd="0" presId="urn:microsoft.com/office/officeart/2009/3/layout/CircleRelationship"/>
    <dgm:cxn modelId="{6BE71F27-4BE0-4E3E-92EA-2C50B65D58A6}" type="presParOf" srcId="{12A98985-5A5C-4A56-93CF-073F8CFA123E}" destId="{C159362C-42BC-403D-BA02-3BEB92C5F9D7}" srcOrd="7" destOrd="0" presId="urn:microsoft.com/office/officeart/2009/3/layout/CircleRelationship"/>
    <dgm:cxn modelId="{80E6BE74-221D-48F0-AA05-91F82853C3F7}" type="presParOf" srcId="{12A98985-5A5C-4A56-93CF-073F8CFA123E}" destId="{4D168B1B-FFDF-44B2-8B21-0990B2280FF6}" srcOrd="8" destOrd="0" presId="urn:microsoft.com/office/officeart/2009/3/layout/CircleRelationship"/>
    <dgm:cxn modelId="{5EFA1DED-F664-42FD-9BFA-0EFE9629AE66}" type="presParOf" srcId="{4D168B1B-FFDF-44B2-8B21-0990B2280FF6}" destId="{2A1B67D8-5763-4762-B0A2-07BA379A8420}" srcOrd="0" destOrd="0" presId="urn:microsoft.com/office/officeart/2009/3/layout/CircleRelationship"/>
    <dgm:cxn modelId="{EE2AC36C-9274-4997-872A-72063D1FA6D5}" type="presParOf" srcId="{12A98985-5A5C-4A56-93CF-073F8CFA123E}" destId="{2EFE27D1-7D11-44F2-9658-9C6BEE041FD0}" srcOrd="9" destOrd="0" presId="urn:microsoft.com/office/officeart/2009/3/layout/CircleRelationship"/>
    <dgm:cxn modelId="{CB6B330B-2A65-42B1-B1CD-2770996BE41E}" type="presParOf" srcId="{2EFE27D1-7D11-44F2-9658-9C6BEE041FD0}" destId="{3DEB8AB2-FA37-4299-B57D-01D4FD4C632F}" srcOrd="0" destOrd="0" presId="urn:microsoft.com/office/officeart/2009/3/layout/CircleRelationship"/>
    <dgm:cxn modelId="{A7A8ECEB-18B0-4F92-B013-8C391D3D0C24}" type="presParOf" srcId="{12A98985-5A5C-4A56-93CF-073F8CFA123E}" destId="{085AF093-D35F-4838-8124-16C2BCD15A3C}" srcOrd="10" destOrd="0" presId="urn:microsoft.com/office/officeart/2009/3/layout/CircleRelationship"/>
    <dgm:cxn modelId="{7F9A68F0-6777-4C59-B069-2FF7536E4FB4}" type="presParOf" srcId="{12A98985-5A5C-4A56-93CF-073F8CFA123E}" destId="{C2F817E3-5611-43C6-9515-C187D364C054}" srcOrd="11" destOrd="0" presId="urn:microsoft.com/office/officeart/2009/3/layout/CircleRelationship"/>
    <dgm:cxn modelId="{259FC651-6042-4538-AFFE-7DDC932D2F53}" type="presParOf" srcId="{C2F817E3-5611-43C6-9515-C187D364C054}" destId="{6D0073A7-7FDB-4C5F-BB24-4F1B047E5443}" srcOrd="0" destOrd="0" presId="urn:microsoft.com/office/officeart/2009/3/layout/CircleRelationship"/>
    <dgm:cxn modelId="{BF27C64B-1E83-4FD3-8C0F-889911388E84}" type="presParOf" srcId="{12A98985-5A5C-4A56-93CF-073F8CFA123E}" destId="{339B174C-3272-4772-9460-7D49A4B62828}" srcOrd="12" destOrd="0" presId="urn:microsoft.com/office/officeart/2009/3/layout/CircleRelationship"/>
    <dgm:cxn modelId="{6B625FC9-4208-4C14-80E8-2C7C37108A17}" type="presParOf" srcId="{339B174C-3272-4772-9460-7D49A4B62828}" destId="{7C79AB2B-0531-4235-94E3-2E7605EAC9D2}" srcOrd="0" destOrd="0" presId="urn:microsoft.com/office/officeart/2009/3/layout/CircleRelationship"/>
    <dgm:cxn modelId="{E9B82532-BC9E-4869-A59A-13649142908A}" type="presParOf" srcId="{12A98985-5A5C-4A56-93CF-073F8CFA123E}" destId="{97358651-3A08-45FB-B6D5-E346CDA84305}" srcOrd="13" destOrd="0" presId="urn:microsoft.com/office/officeart/2009/3/layout/CircleRelationship"/>
    <dgm:cxn modelId="{E3B7C5EA-BCCA-47D1-A987-AC2279467490}" type="presParOf" srcId="{97358651-3A08-45FB-B6D5-E346CDA84305}" destId="{72D61A67-E42A-4F96-AF87-1E14B43D1DC8}" srcOrd="0" destOrd="0" presId="urn:microsoft.com/office/officeart/2009/3/layout/CircleRelationship"/>
    <dgm:cxn modelId="{4D38554D-0756-4872-8CBD-2F7358EA3D6D}" type="presParOf" srcId="{12A98985-5A5C-4A56-93CF-073F8CFA123E}" destId="{68F1604D-8F5D-4D9D-8CF3-B5F0F64B4548}" srcOrd="14" destOrd="0" presId="urn:microsoft.com/office/officeart/2009/3/layout/CircleRelationship"/>
    <dgm:cxn modelId="{70266AD6-E896-407F-87A0-58E9220C7E17}" type="presParOf" srcId="{12A98985-5A5C-4A56-93CF-073F8CFA123E}" destId="{B3C1CDD0-1596-404A-AEA0-EFE0CCEBF94F}" srcOrd="15" destOrd="0" presId="urn:microsoft.com/office/officeart/2009/3/layout/CircleRelationship"/>
    <dgm:cxn modelId="{08B0863E-157A-4B25-89D7-659080077ABC}" type="presParOf" srcId="{B3C1CDD0-1596-404A-AEA0-EFE0CCEBF94F}" destId="{9CB75ADB-B082-4585-9866-7206C9848526}" srcOrd="0" destOrd="0" presId="urn:microsoft.com/office/officeart/2009/3/layout/CircleRelationship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4F0AB00-144A-496E-A9F1-8C7D86EAFB97}">
      <dsp:nvSpPr>
        <dsp:cNvPr id="0" name=""/>
        <dsp:cNvSpPr/>
      </dsp:nvSpPr>
      <dsp:spPr>
        <a:xfrm>
          <a:off x="-4594335" y="-704407"/>
          <a:ext cx="5472816" cy="5472816"/>
        </a:xfrm>
        <a:prstGeom prst="blockArc">
          <a:avLst>
            <a:gd name="adj1" fmla="val 18900000"/>
            <a:gd name="adj2" fmla="val 2700000"/>
            <a:gd name="adj3" fmla="val 395"/>
          </a:avLst>
        </a:prstGeom>
        <a:noFill/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91C4D02-9AF6-4140-AA2D-C6D14B102305}">
      <dsp:nvSpPr>
        <dsp:cNvPr id="0" name=""/>
        <dsp:cNvSpPr/>
      </dsp:nvSpPr>
      <dsp:spPr>
        <a:xfrm>
          <a:off x="564979" y="406400"/>
          <a:ext cx="6999833" cy="812800"/>
        </a:xfrm>
        <a:prstGeom prst="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5160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4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โครงสร้างกระทรวง</a:t>
          </a:r>
          <a:r>
            <a:rPr lang="th-TH" sz="24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พลังงาน</a:t>
          </a:r>
          <a:endParaRPr lang="en-US" sz="24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564979" y="406400"/>
        <a:ext cx="6999833" cy="812800"/>
      </dsp:txXfrm>
    </dsp:sp>
    <dsp:sp modelId="{CBAE2D19-C32B-4207-949A-9AD32DDEC317}">
      <dsp:nvSpPr>
        <dsp:cNvPr id="0" name=""/>
        <dsp:cNvSpPr/>
      </dsp:nvSpPr>
      <dsp:spPr>
        <a:xfrm>
          <a:off x="56979" y="304800"/>
          <a:ext cx="1016000" cy="101600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723B43D-83AE-4B2E-88EB-5058AFE008B7}">
      <dsp:nvSpPr>
        <dsp:cNvPr id="0" name=""/>
        <dsp:cNvSpPr/>
      </dsp:nvSpPr>
      <dsp:spPr>
        <a:xfrm>
          <a:off x="860432" y="1625599"/>
          <a:ext cx="6704380" cy="812800"/>
        </a:xfrm>
        <a:prstGeom prst="rect">
          <a:avLst/>
        </a:prstGeom>
        <a:solidFill>
          <a:schemeClr val="accent3">
            <a:hueOff val="-255867"/>
            <a:satOff val="-42857"/>
            <a:lumOff val="-1352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5160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4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ประเด็นนโยบายสำคัญด้านพลังงาน</a:t>
          </a:r>
          <a:endParaRPr lang="en-US" sz="24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860432" y="1625599"/>
        <a:ext cx="6704380" cy="812800"/>
      </dsp:txXfrm>
    </dsp:sp>
    <dsp:sp modelId="{7CF9BBDB-6531-44DB-A945-C90B16533F62}">
      <dsp:nvSpPr>
        <dsp:cNvPr id="0" name=""/>
        <dsp:cNvSpPr/>
      </dsp:nvSpPr>
      <dsp:spPr>
        <a:xfrm>
          <a:off x="352432" y="1523999"/>
          <a:ext cx="1016000" cy="101600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255867"/>
              <a:satOff val="-42857"/>
              <a:lumOff val="-1352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F33C9C5-6B76-48B0-84EA-B1448E3F36ED}">
      <dsp:nvSpPr>
        <dsp:cNvPr id="0" name=""/>
        <dsp:cNvSpPr/>
      </dsp:nvSpPr>
      <dsp:spPr>
        <a:xfrm>
          <a:off x="564979" y="2844800"/>
          <a:ext cx="6999833" cy="812800"/>
        </a:xfrm>
        <a:prstGeom prst="rect">
          <a:avLst/>
        </a:prstGeom>
        <a:solidFill>
          <a:schemeClr val="accent3">
            <a:hueOff val="-511735"/>
            <a:satOff val="-85714"/>
            <a:lumOff val="-2705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5160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400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ภารกิจสำนักงานพลังงานจังหวัด</a:t>
          </a:r>
          <a:endParaRPr lang="en-US" sz="24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564979" y="2844800"/>
        <a:ext cx="6999833" cy="812800"/>
      </dsp:txXfrm>
    </dsp:sp>
    <dsp:sp modelId="{CD58E607-BF34-4F57-A4AE-1EC9DE28605C}">
      <dsp:nvSpPr>
        <dsp:cNvPr id="0" name=""/>
        <dsp:cNvSpPr/>
      </dsp:nvSpPr>
      <dsp:spPr>
        <a:xfrm>
          <a:off x="56979" y="2743200"/>
          <a:ext cx="1016000" cy="101600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-511735"/>
              <a:satOff val="-85714"/>
              <a:lumOff val="-27059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4264394-B414-40A0-834E-F8E46902F512}">
      <dsp:nvSpPr>
        <dsp:cNvPr id="0" name=""/>
        <dsp:cNvSpPr/>
      </dsp:nvSpPr>
      <dsp:spPr>
        <a:xfrm>
          <a:off x="1648196" y="38099"/>
          <a:ext cx="1828800" cy="1828800"/>
        </a:xfrm>
        <a:prstGeom prst="ellipse">
          <a:avLst/>
        </a:prstGeom>
        <a:solidFill>
          <a:schemeClr val="accent2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0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นโยบาย</a:t>
          </a:r>
          <a:endParaRPr lang="en-US" sz="20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1892036" y="358139"/>
        <a:ext cx="1341120" cy="822960"/>
      </dsp:txXfrm>
    </dsp:sp>
    <dsp:sp modelId="{9B1900CA-EC10-4BC2-BFBB-6A4AFC6274AD}">
      <dsp:nvSpPr>
        <dsp:cNvPr id="0" name=""/>
        <dsp:cNvSpPr/>
      </dsp:nvSpPr>
      <dsp:spPr>
        <a:xfrm>
          <a:off x="2308088" y="1181100"/>
          <a:ext cx="1828800" cy="1828800"/>
        </a:xfrm>
        <a:prstGeom prst="ellipse">
          <a:avLst/>
        </a:prstGeom>
        <a:solidFill>
          <a:schemeClr val="accent3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0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ปฏิบัติ</a:t>
          </a:r>
          <a:endParaRPr lang="en-US" sz="20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2867396" y="1653540"/>
        <a:ext cx="1097280" cy="1005840"/>
      </dsp:txXfrm>
    </dsp:sp>
    <dsp:sp modelId="{3F3E0B09-2E4B-4F86-AFE8-981A3DE5E776}">
      <dsp:nvSpPr>
        <dsp:cNvPr id="0" name=""/>
        <dsp:cNvSpPr/>
      </dsp:nvSpPr>
      <dsp:spPr>
        <a:xfrm>
          <a:off x="988303" y="1181100"/>
          <a:ext cx="1828800" cy="1828800"/>
        </a:xfrm>
        <a:prstGeom prst="ellipse">
          <a:avLst/>
        </a:prstGeom>
        <a:solidFill>
          <a:schemeClr val="accent4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0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กำกับ</a:t>
          </a:r>
          <a:endParaRPr lang="en-US" sz="20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1160516" y="1653540"/>
        <a:ext cx="1097280" cy="100584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785139C-0FA7-4AA5-BD7D-B587D9046B02}">
      <dsp:nvSpPr>
        <dsp:cNvPr id="0" name=""/>
        <dsp:cNvSpPr/>
      </dsp:nvSpPr>
      <dsp:spPr>
        <a:xfrm>
          <a:off x="1294204" y="590741"/>
          <a:ext cx="3491865" cy="3492257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8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อาสาสมัคร</a:t>
          </a:r>
          <a:r>
            <a:rPr lang="th-TH" sz="28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พลังงานกว่า</a:t>
          </a:r>
          <a:endParaRPr lang="th-TH" sz="2800" kern="1200" dirty="0" smtClean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8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 20,000 คน</a:t>
          </a:r>
          <a:endParaRPr lang="en-US" sz="2800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1805576" y="1102170"/>
        <a:ext cx="2469121" cy="2469399"/>
      </dsp:txXfrm>
    </dsp:sp>
    <dsp:sp modelId="{B46FE9DA-BF04-4A51-B287-EF660CBF0D42}">
      <dsp:nvSpPr>
        <dsp:cNvPr id="0" name=""/>
        <dsp:cNvSpPr/>
      </dsp:nvSpPr>
      <dsp:spPr>
        <a:xfrm>
          <a:off x="3286894" y="431631"/>
          <a:ext cx="388223" cy="388391"/>
        </a:xfrm>
        <a:prstGeom prst="ellips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1A5276-78F3-49EA-9D3D-61F4D36BBFB9}">
      <dsp:nvSpPr>
        <dsp:cNvPr id="0" name=""/>
        <dsp:cNvSpPr/>
      </dsp:nvSpPr>
      <dsp:spPr>
        <a:xfrm>
          <a:off x="2367907" y="3823527"/>
          <a:ext cx="281498" cy="281502"/>
        </a:xfrm>
        <a:prstGeom prst="ellipse">
          <a:avLst/>
        </a:prstGeom>
        <a:solidFill>
          <a:schemeClr val="accent4">
            <a:hueOff val="37194"/>
            <a:satOff val="6177"/>
            <a:lumOff val="81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805134-594F-42DB-B834-80776CC09529}">
      <dsp:nvSpPr>
        <dsp:cNvPr id="0" name=""/>
        <dsp:cNvSpPr/>
      </dsp:nvSpPr>
      <dsp:spPr>
        <a:xfrm>
          <a:off x="5010980" y="2008043"/>
          <a:ext cx="281498" cy="281502"/>
        </a:xfrm>
        <a:prstGeom prst="ellipse">
          <a:avLst/>
        </a:prstGeom>
        <a:solidFill>
          <a:schemeClr val="accent4">
            <a:hueOff val="74388"/>
            <a:satOff val="12353"/>
            <a:lumOff val="162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799BCC1-5DFE-42DF-8C95-89DF951B56B9}">
      <dsp:nvSpPr>
        <dsp:cNvPr id="0" name=""/>
        <dsp:cNvSpPr/>
      </dsp:nvSpPr>
      <dsp:spPr>
        <a:xfrm>
          <a:off x="3605036" y="4062183"/>
          <a:ext cx="509764" cy="509984"/>
        </a:xfrm>
        <a:prstGeom prst="ellipse">
          <a:avLst/>
        </a:prstGeom>
        <a:solidFill>
          <a:schemeClr val="accent4">
            <a:hueOff val="111583"/>
            <a:satOff val="18530"/>
            <a:lumOff val="243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685211-CE79-47AF-950F-FCA614262C75}">
      <dsp:nvSpPr>
        <dsp:cNvPr id="0" name=""/>
        <dsp:cNvSpPr/>
      </dsp:nvSpPr>
      <dsp:spPr>
        <a:xfrm>
          <a:off x="2446698" y="983620"/>
          <a:ext cx="281498" cy="281502"/>
        </a:xfrm>
        <a:prstGeom prst="ellipse">
          <a:avLst/>
        </a:prstGeom>
        <a:solidFill>
          <a:schemeClr val="accent4">
            <a:hueOff val="148777"/>
            <a:satOff val="24706"/>
            <a:lumOff val="324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EBCB1E8-B51C-478F-8315-0F6CA2981510}">
      <dsp:nvSpPr>
        <dsp:cNvPr id="0" name=""/>
        <dsp:cNvSpPr/>
      </dsp:nvSpPr>
      <dsp:spPr>
        <a:xfrm>
          <a:off x="1560660" y="2593893"/>
          <a:ext cx="281498" cy="281502"/>
        </a:xfrm>
        <a:prstGeom prst="ellipse">
          <a:avLst/>
        </a:prstGeom>
        <a:solidFill>
          <a:schemeClr val="accent4">
            <a:hueOff val="185971"/>
            <a:satOff val="30882"/>
            <a:lumOff val="406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59362C-42BC-403D-BA02-3BEB92C5F9D7}">
      <dsp:nvSpPr>
        <dsp:cNvPr id="0" name=""/>
        <dsp:cNvSpPr/>
      </dsp:nvSpPr>
      <dsp:spPr>
        <a:xfrm>
          <a:off x="-69365" y="962925"/>
          <a:ext cx="1963583" cy="1935612"/>
        </a:xfrm>
        <a:prstGeom prst="ellipse">
          <a:avLst/>
        </a:prstGeom>
        <a:solidFill>
          <a:schemeClr val="accent4">
            <a:hueOff val="223165"/>
            <a:satOff val="37059"/>
            <a:lumOff val="4873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20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เยาวชนและเครือข่าย</a:t>
          </a:r>
          <a:br>
            <a:rPr lang="th-TH" sz="20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</a:br>
          <a:r>
            <a:rPr lang="th-TH" sz="20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เจตคติที่ดีต่อพลังงาน </a:t>
          </a:r>
          <a:r>
            <a:rPr lang="th-TH" sz="1600" b="1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2</a:t>
          </a:r>
          <a:r>
            <a:rPr lang="en-US" sz="1600" b="1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,</a:t>
          </a:r>
          <a:r>
            <a:rPr lang="th-TH" sz="1600" b="1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160 คน</a:t>
          </a:r>
          <a:endParaRPr lang="en-US" sz="1600" b="1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218195" y="1246389"/>
        <a:ext cx="1388463" cy="1368684"/>
      </dsp:txXfrm>
    </dsp:sp>
    <dsp:sp modelId="{2A1B67D8-5763-4762-B0A2-07BA379A8420}">
      <dsp:nvSpPr>
        <dsp:cNvPr id="0" name=""/>
        <dsp:cNvSpPr/>
      </dsp:nvSpPr>
      <dsp:spPr>
        <a:xfrm>
          <a:off x="2894373" y="995859"/>
          <a:ext cx="388223" cy="388391"/>
        </a:xfrm>
        <a:prstGeom prst="ellipse">
          <a:avLst/>
        </a:prstGeom>
        <a:solidFill>
          <a:schemeClr val="accent4">
            <a:hueOff val="260359"/>
            <a:satOff val="43235"/>
            <a:lumOff val="568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DEB8AB2-FA37-4299-B57D-01D4FD4C632F}">
      <dsp:nvSpPr>
        <dsp:cNvPr id="0" name=""/>
        <dsp:cNvSpPr/>
      </dsp:nvSpPr>
      <dsp:spPr>
        <a:xfrm>
          <a:off x="336537" y="3056536"/>
          <a:ext cx="701954" cy="702123"/>
        </a:xfrm>
        <a:prstGeom prst="ellipse">
          <a:avLst/>
        </a:prstGeom>
        <a:solidFill>
          <a:schemeClr val="accent4">
            <a:hueOff val="297554"/>
            <a:satOff val="49412"/>
            <a:lumOff val="649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85AF093-D35F-4838-8124-16C2BCD15A3C}">
      <dsp:nvSpPr>
        <dsp:cNvPr id="0" name=""/>
        <dsp:cNvSpPr/>
      </dsp:nvSpPr>
      <dsp:spPr>
        <a:xfrm>
          <a:off x="5044640" y="479260"/>
          <a:ext cx="1620237" cy="1567237"/>
        </a:xfrm>
        <a:prstGeom prst="ellipse">
          <a:avLst/>
        </a:prstGeom>
        <a:solidFill>
          <a:schemeClr val="accent4">
            <a:hueOff val="334748"/>
            <a:satOff val="55588"/>
            <a:lumOff val="730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4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ครูวิทยาศาสตร์ (</a:t>
          </a:r>
          <a:r>
            <a:rPr lang="en-US" sz="14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STEM</a:t>
          </a:r>
          <a:r>
            <a:rPr lang="th-TH" sz="14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) สอนวิชาพลังงาน </a:t>
          </a:r>
          <a:r>
            <a:rPr lang="th-TH" sz="1400" b="1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1</a:t>
          </a:r>
          <a:r>
            <a:rPr lang="en-US" sz="1400" b="1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,</a:t>
          </a:r>
          <a:r>
            <a:rPr lang="th-TH" sz="1400" b="1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800 คน</a:t>
          </a:r>
          <a:endParaRPr lang="en-US" sz="1400" b="1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5281918" y="708777"/>
        <a:ext cx="1145681" cy="1108203"/>
      </dsp:txXfrm>
    </dsp:sp>
    <dsp:sp modelId="{6D0073A7-7FDB-4C5F-BB24-4F1B047E5443}">
      <dsp:nvSpPr>
        <dsp:cNvPr id="0" name=""/>
        <dsp:cNvSpPr/>
      </dsp:nvSpPr>
      <dsp:spPr>
        <a:xfrm>
          <a:off x="4511017" y="1533161"/>
          <a:ext cx="388223" cy="388391"/>
        </a:xfrm>
        <a:prstGeom prst="ellipse">
          <a:avLst/>
        </a:prstGeom>
        <a:solidFill>
          <a:schemeClr val="accent4">
            <a:hueOff val="371942"/>
            <a:satOff val="61765"/>
            <a:lumOff val="812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C79AB2B-0531-4235-94E3-2E7605EAC9D2}">
      <dsp:nvSpPr>
        <dsp:cNvPr id="0" name=""/>
        <dsp:cNvSpPr/>
      </dsp:nvSpPr>
      <dsp:spPr>
        <a:xfrm>
          <a:off x="69365" y="3892067"/>
          <a:ext cx="281498" cy="281502"/>
        </a:xfrm>
        <a:prstGeom prst="ellipse">
          <a:avLst/>
        </a:prstGeom>
        <a:solidFill>
          <a:schemeClr val="accent4">
            <a:hueOff val="409136"/>
            <a:satOff val="67941"/>
            <a:lumOff val="893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2D61A67-E42A-4F96-AF87-1E14B43D1DC8}">
      <dsp:nvSpPr>
        <dsp:cNvPr id="0" name=""/>
        <dsp:cNvSpPr/>
      </dsp:nvSpPr>
      <dsp:spPr>
        <a:xfrm>
          <a:off x="2874317" y="3491436"/>
          <a:ext cx="281498" cy="281502"/>
        </a:xfrm>
        <a:prstGeom prst="ellipse">
          <a:avLst/>
        </a:prstGeom>
        <a:solidFill>
          <a:schemeClr val="accent4">
            <a:hueOff val="446331"/>
            <a:satOff val="74118"/>
            <a:lumOff val="974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8F1604D-8F5D-4D9D-8CF3-B5F0F64B4548}">
      <dsp:nvSpPr>
        <dsp:cNvPr id="0" name=""/>
        <dsp:cNvSpPr/>
      </dsp:nvSpPr>
      <dsp:spPr>
        <a:xfrm>
          <a:off x="5812498" y="3006763"/>
          <a:ext cx="1419666" cy="1419341"/>
        </a:xfrm>
        <a:prstGeom prst="ellipse">
          <a:avLst/>
        </a:prstGeom>
        <a:solidFill>
          <a:schemeClr val="accent4">
            <a:hueOff val="483525"/>
            <a:satOff val="80294"/>
            <a:lumOff val="1055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th-TH" sz="1400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ครู กศน. วิชาชีพพลังงาน </a:t>
          </a:r>
          <a:r>
            <a:rPr lang="th-TH" sz="1400" b="1" kern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500 คน</a:t>
          </a:r>
          <a:endParaRPr lang="en-US" sz="1400" b="1" kern="1200" dirty="0">
            <a:latin typeface="Tahoma" panose="020B0604030504040204" pitchFamily="34" charset="0"/>
            <a:ea typeface="Tahoma" panose="020B0604030504040204" pitchFamily="34" charset="0"/>
            <a:cs typeface="Tahoma" panose="020B0604030504040204" pitchFamily="34" charset="0"/>
          </a:endParaRPr>
        </a:p>
      </dsp:txBody>
      <dsp:txXfrm>
        <a:off x="6020403" y="3214621"/>
        <a:ext cx="1003856" cy="1003625"/>
      </dsp:txXfrm>
    </dsp:sp>
    <dsp:sp modelId="{9CB75ADB-B082-4585-9866-7206C9848526}">
      <dsp:nvSpPr>
        <dsp:cNvPr id="0" name=""/>
        <dsp:cNvSpPr/>
      </dsp:nvSpPr>
      <dsp:spPr>
        <a:xfrm>
          <a:off x="5412097" y="2956990"/>
          <a:ext cx="281498" cy="281502"/>
        </a:xfrm>
        <a:prstGeom prst="ellipse">
          <a:avLst/>
        </a:prstGeom>
        <a:solidFill>
          <a:schemeClr val="accent4">
            <a:hueOff val="520719"/>
            <a:satOff val="86471"/>
            <a:lumOff val="1137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CircleRelationship">
  <dgm:title val=""/>
  <dgm:desc val=""/>
  <dgm:catLst>
    <dgm:cat type="relationship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0" srcId="0" destId="10" srcOrd="0" destOrd="0"/>
        <dgm:cxn modelId="21" srcId="10" destId="11" srcOrd="0" destOrd="0"/>
        <dgm:cxn modelId="22" srcId="10" destId="12" srcOrd="0" destOrd="0"/>
      </dgm:cxnLst>
      <dgm:bg/>
      <dgm:whole/>
    </dgm:dataModel>
  </dgm:clrData>
  <dgm:layoutNode name="Name0">
    <dgm:varLst>
      <dgm:chMax val="1"/>
      <dgm:chPref val="1"/>
    </dgm:varLst>
    <dgm:shape xmlns:r="http://schemas.openxmlformats.org/officeDocument/2006/relationships" r:blip="">
      <dgm:adjLst/>
    </dgm:shape>
    <dgm:choose name="Name1">
      <dgm:if name="Name2" axis="ch ch" ptType="node node" func="cnt" op="equ" val="0">
        <dgm:alg type="composite">
          <dgm:param type="ar" val="0.98"/>
        </dgm:alg>
        <dgm:constrLst>
          <dgm:constr type="primFontSz" for="des" ptType="node" op="equ" val="65"/>
          <dgm:constr type="l" for="ch" forName="Parent" refType="w" fact="0"/>
          <dgm:constr type="t" for="ch" forName="Parent" refType="h" fact="0.039"/>
          <dgm:constr type="w" for="ch" forName="Parent" refType="w" fact="0.8734"/>
          <dgm:constr type="h" for="ch" forName="Parent" refType="h" fact="0.856"/>
          <dgm:constr type="l" for="ch" forName="Accent1" refType="w" fact="0.4984"/>
          <dgm:constr type="t" for="ch" forName="Accent1" refType="h" fact="0"/>
          <dgm:constr type="w" for="ch" forName="Accent1" refType="w" fact="0.0972"/>
          <dgm:constr type="h" for="ch" forName="Accent1" refType="h" fact="0.0952"/>
          <dgm:constr type="l" for="ch" forName="Accent2" refType="w" fact="0.2684"/>
          <dgm:constr type="t" for="ch" forName="Accent2" refType="h" fact="0.8314"/>
          <dgm:constr type="w" for="ch" forName="Accent2" refType="w" fact="0.0704"/>
          <dgm:constr type="h" for="ch" forName="Accent2" refType="h" fact="0.069"/>
          <dgm:constr type="l" for="ch" forName="Accent3" refType="w" fact="0.9296"/>
          <dgm:constr type="t" for="ch" forName="Accent3" refType="h" fact="0.3864"/>
          <dgm:constr type="w" for="ch" forName="Accent3" refType="w" fact="0.0704"/>
          <dgm:constr type="h" for="ch" forName="Accent3" refType="h" fact="0.069"/>
          <dgm:constr type="l" for="ch" forName="Accent4" refType="w" fact="0.5931"/>
          <dgm:constr type="t" for="ch" forName="Accent4" refType="h" fact="0.9048"/>
          <dgm:constr type="w" for="ch" forName="Accent4" refType="w" fact="0.0972"/>
          <dgm:constr type="h" for="ch" forName="Accent4" refType="h" fact="0.0952"/>
          <dgm:constr type="l" for="ch" forName="Accent5" refType="w" fact="0.2883"/>
          <dgm:constr type="t" for="ch" forName="Accent5" refType="h" fact="0.1353"/>
          <dgm:constr type="w" for="ch" forName="Accent5" refType="w" fact="0.0704"/>
          <dgm:constr type="h" for="ch" forName="Accent5" refType="h" fact="0.069"/>
          <dgm:constr type="l" for="ch" forName="Accent6" refType="w" fact="0.0666"/>
          <dgm:constr type="t" for="ch" forName="Accent6" refType="h" fact="0.53"/>
          <dgm:constr type="w" for="ch" forName="Accent6" refType="w" fact="0.0704"/>
          <dgm:constr type="h" for="ch" forName="Accent6" refType="h" fact="0.069"/>
        </dgm:constrLst>
      </dgm:if>
      <dgm:if name="Name3" axis="ch ch" ptType="node node" func="cnt" op="equ" val="1">
        <dgm:alg type="composite">
          <dgm:param type="ar" val="1.2476"/>
        </dgm:alg>
        <dgm:constrLst>
          <dgm:constr type="primFontSz" for="des" ptType="node" op="equ" val="65"/>
          <dgm:constr type="l" for="ch" forName="Parent" refType="w" fact="0.2145"/>
          <dgm:constr type="t" for="ch" forName="Parent" refType="h" fact="0.039"/>
          <dgm:constr type="w" for="ch" forName="Parent" refType="w" fact="0.6861"/>
          <dgm:constr type="h" for="ch" forName="Parent" refType="h" fact="0.856"/>
          <dgm:constr type="l" for="ch" forName="Accent8" refType="w" fact="0.0262"/>
          <dgm:constr type="t" for="ch" forName="Accent8" refType="h" fact="0.6434"/>
          <dgm:constr type="w" for="ch" forName="Accent8" refType="w" fact="0.138"/>
          <dgm:constr type="h" for="ch" forName="Accent8" refType="h" fact="0.1721"/>
          <dgm:constr type="l" for="ch" forName="Accent1" refType="w" fact="0.6059"/>
          <dgm:constr type="t" for="ch" forName="Accent1" refType="h" fact="0"/>
          <dgm:constr type="w" for="ch" forName="Accent1" refType="w" fact="0.0763"/>
          <dgm:constr type="h" for="ch" forName="Accent1" refType="h" fact="0.0952"/>
          <dgm:constr type="l" for="ch" forName="Accent2" refType="w" fact="0.4253"/>
          <dgm:constr type="t" for="ch" forName="Accent2" refType="h" fact="0.8314"/>
          <dgm:constr type="w" for="ch" forName="Accent2" refType="w" fact="0.0553"/>
          <dgm:constr type="h" for="ch" forName="Accent2" refType="h" fact="0.069"/>
          <dgm:constr type="l" for="ch" forName="Accent3" refType="w" fact="0.9447"/>
          <dgm:constr type="t" for="ch" forName="Accent3" refType="h" fact="0.3864"/>
          <dgm:constr type="w" for="ch" forName="Accent3" refType="w" fact="0.0553"/>
          <dgm:constr type="h" for="ch" forName="Accent3" refType="h" fact="0.069"/>
          <dgm:constr type="l" for="ch" forName="Child1" refType="w" fact="0"/>
          <dgm:constr type="t" for="ch" forName="Child1" refType="h" fact="0.1935"/>
          <dgm:constr type="w" for="ch" forName="Child1" refType="w" fact="0.2789"/>
          <dgm:constr type="h" for="ch" forName="Child1" refType="h" fact="0.3479"/>
          <dgm:constr type="l" for="ch" forName="Accent4" refType="w" fact="0.6803"/>
          <dgm:constr type="t" for="ch" forName="Accent4" refType="h" fact="0.9048"/>
          <dgm:constr type="w" for="ch" forName="Accent4" refType="w" fact="0.0763"/>
          <dgm:constr type="h" for="ch" forName="Accent4" refType="h" fact="0.0952"/>
          <dgm:constr type="l" for="ch" forName="Accent7" refType="w" fact="0.5287"/>
          <dgm:constr type="t" for="ch" forName="Accent7" refType="h" fact="0.1383"/>
          <dgm:constr type="w" for="ch" forName="Accent7" refType="w" fact="0.0763"/>
          <dgm:constr type="h" for="ch" forName="Accent7" refType="h" fact="0.0952"/>
          <dgm:constr type="l" for="ch" forName="Accent5" refType="w" fact="0.4409"/>
          <dgm:constr type="t" for="ch" forName="Accent5" refType="h" fact="0.1353"/>
          <dgm:constr type="w" for="ch" forName="Accent5" refType="w" fact="0.0553"/>
          <dgm:constr type="h" for="ch" forName="Accent5" refType="h" fact="0.069"/>
          <dgm:constr type="l" for="ch" forName="Accent6" refType="w" fact="0.2668"/>
          <dgm:constr type="t" for="ch" forName="Accent6" refType="h" fact="0.53"/>
          <dgm:constr type="w" for="ch" forName="Accent6" refType="w" fact="0.0553"/>
          <dgm:constr type="h" for="ch" forName="Accent6" refType="h" fact="0.069"/>
        </dgm:constrLst>
      </dgm:if>
      <dgm:if name="Name4" axis="ch ch" ptType="node node" func="cnt" op="equ" val="2">
        <dgm:alg type="composite">
          <dgm:param type="ar" val="1.592"/>
        </dgm:alg>
        <dgm:constrLst>
          <dgm:constr type="primFontSz" for="des" ptType="node" op="equ" val="65"/>
          <dgm:constr type="l" for="ch" forName="Parent" refType="w" fact="0.1886"/>
          <dgm:constr type="t" for="ch" forName="Parent" refType="h" fact="0.039"/>
          <dgm:constr type="w" for="ch" forName="Parent" refType="w" fact="0.5377"/>
          <dgm:constr type="h" for="ch" forName="Parent" refType="h" fact="0.856"/>
          <dgm:constr type="l" for="ch" forName="Accent8" refType="w" fact="0.0411"/>
          <dgm:constr type="t" for="ch" forName="Accent8" refType="h" fact="0.6434"/>
          <dgm:constr type="w" for="ch" forName="Accent8" refType="w" fact="0.1081"/>
          <dgm:constr type="h" for="ch" forName="Accent8" refType="h" fact="0.1721"/>
          <dgm:constr type="l" for="ch" forName="Accent1" refType="w" fact="0.4954"/>
          <dgm:constr type="t" for="ch" forName="Accent1" refType="h" fact="0"/>
          <dgm:constr type="w" for="ch" forName="Accent1" refType="w" fact="0.0598"/>
          <dgm:constr type="h" for="ch" forName="Accent1" refType="h" fact="0.0952"/>
          <dgm:constr type="l" for="ch" forName="Accent2" refType="w" fact="0.3538"/>
          <dgm:constr type="t" for="ch" forName="Accent2" refType="h" fact="0.8314"/>
          <dgm:constr type="w" for="ch" forName="Accent2" refType="w" fact="0.0433"/>
          <dgm:constr type="h" for="ch" forName="Accent2" refType="h" fact="0.069"/>
          <dgm:constr type="l" for="ch" forName="Accent3" refType="w" fact="0.7609"/>
          <dgm:constr type="t" for="ch" forName="Accent3" refType="h" fact="0.3864"/>
          <dgm:constr type="w" for="ch" forName="Accent3" refType="w" fact="0.0433"/>
          <dgm:constr type="h" for="ch" forName="Accent3" refType="h" fact="0.069"/>
          <dgm:constr type="l" for="ch" forName="Accent9" refType="w" fact="0.6839"/>
          <dgm:constr type="t" for="ch" forName="Accent9" refType="h" fact="0.27"/>
          <dgm:constr type="w" for="ch" forName="Accent9" refType="w" fact="0.0598"/>
          <dgm:constr type="h" for="ch" forName="Accent9" refType="h" fact="0.0952"/>
          <dgm:constr type="l" for="ch" forName="Child1" refType="w" fact="0.0206"/>
          <dgm:constr type="t" for="ch" forName="Child1" refType="h" fact="0.1935"/>
          <dgm:constr type="w" for="ch" forName="Child1" refType="w" fact="0.2186"/>
          <dgm:constr type="h" for="ch" forName="Child1" refType="h" fact="0.3479"/>
          <dgm:constr type="l" for="ch" forName="Child2" refType="w" fact="0.7814"/>
          <dgm:constr type="t" for="ch" forName="Child2" refType="h" fact="0.0298"/>
          <dgm:constr type="w" for="ch" forName="Child2" refType="w" fact="0.2186"/>
          <dgm:constr type="h" for="ch" forName="Child2" refType="h" fact="0.3479"/>
          <dgm:constr type="l" for="ch" forName="Accent10" refType="w" fact="0"/>
          <dgm:constr type="t" for="ch" forName="Accent10" refType="h" fact="0.8482"/>
          <dgm:constr type="w" for="ch" forName="Accent10" refType="w" fact="0.0433"/>
          <dgm:constr type="h" for="ch" forName="Accent10" refType="h" fact="0.069"/>
          <dgm:constr type="l" for="ch" forName="Accent11" refType="w" fact="0.4318"/>
          <dgm:constr type="t" for="ch" forName="Accent11" refType="h" fact="0.75"/>
          <dgm:constr type="w" for="ch" forName="Accent11" refType="w" fact="0.0433"/>
          <dgm:constr type="h" for="ch" forName="Accent11" refType="h" fact="0.069"/>
          <dgm:constr type="l" for="ch" forName="Accent7" refType="w" fact="0.4349"/>
          <dgm:constr type="t" for="ch" forName="Accent7" refType="h" fact="0.1383"/>
          <dgm:constr type="w" for="ch" forName="Accent7" refType="w" fact="0.0598"/>
          <dgm:constr type="h" for="ch" forName="Accent7" refType="h" fact="0.0952"/>
          <dgm:constr type="l" for="ch" forName="Accent5" refType="w" fact="0.3661"/>
          <dgm:constr type="t" for="ch" forName="Accent5" refType="h" fact="0.1353"/>
          <dgm:constr type="w" for="ch" forName="Accent5" refType="w" fact="0.0433"/>
          <dgm:constr type="h" for="ch" forName="Accent5" refType="h" fact="0.069"/>
          <dgm:constr type="l" for="ch" forName="Accent6" refType="w" fact="0.2296"/>
          <dgm:constr type="t" for="ch" forName="Accent6" refType="h" fact="0.53"/>
          <dgm:constr type="w" for="ch" forName="Accent6" refType="w" fact="0.0433"/>
          <dgm:constr type="h" for="ch" forName="Accent6" refType="h" fact="0.069"/>
          <dgm:constr type="l" for="ch" forName="Accent4" refType="w" fact="0.5537"/>
          <dgm:constr type="t" for="ch" forName="Accent4" refType="h" fact="0.9048"/>
          <dgm:constr type="w" for="ch" forName="Accent4" refType="w" fact="0.0598"/>
          <dgm:constr type="h" for="ch" forName="Accent4" refType="h" fact="0.0952"/>
        </dgm:constrLst>
      </dgm:if>
      <dgm:if name="Name5" axis="ch ch" ptType="node node" func="cnt" op="equ" val="3">
        <dgm:alg type="composite">
          <dgm:param type="ar" val="1.7557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039"/>
          <dgm:constr type="w" for="ch" forName="Parent" refType="w" fact="0.4875"/>
          <dgm:constr type="h" for="ch" forName="Parent" refType="h" fact="0.856"/>
          <dgm:constr type="l" for="ch" forName="Accent8" refType="w" fact="0.0373"/>
          <dgm:constr type="t" for="ch" forName="Accent8" refType="h" fact="0.6434"/>
          <dgm:constr type="w" for="ch" forName="Accent8" refType="w" fact="0.098"/>
          <dgm:constr type="h" for="ch" forName="Accent8" refType="h" fact="0.1721"/>
          <dgm:constr type="l" for="ch" forName="Accent1" refType="w" fact="0.4492"/>
          <dgm:constr type="t" for="ch" forName="Accent1" refType="h" fact="0"/>
          <dgm:constr type="w" for="ch" forName="Accent1" refType="w" fact="0.0542"/>
          <dgm:constr type="h" for="ch" forName="Accent1" refType="h" fact="0.0952"/>
          <dgm:constr type="l" for="ch" forName="Accent2" refType="w" fact="0.3209"/>
          <dgm:constr type="t" for="ch" forName="Accent2" refType="h" fact="0.8314"/>
          <dgm:constr type="w" for="ch" forName="Accent2" refType="w" fact="0.0393"/>
          <dgm:constr type="h" for="ch" forName="Accent2" refType="h" fact="0.069"/>
          <dgm:constr type="l" for="ch" forName="Accent3" refType="w" fact="0.6899"/>
          <dgm:constr type="t" for="ch" forName="Accent3" refType="h" fact="0.3864"/>
          <dgm:constr type="w" for="ch" forName="Accent3" refType="w" fact="0.0393"/>
          <dgm:constr type="h" for="ch" forName="Accent3" refType="h" fact="0.069"/>
          <dgm:constr type="l" for="ch" forName="Accent9" refType="w" fact="0.6201"/>
          <dgm:constr type="t" for="ch" forName="Accent9" refType="h" fact="0.27"/>
          <dgm:constr type="w" for="ch" forName="Accent9" refType="w" fact="0.0542"/>
          <dgm:constr type="h" for="ch" forName="Accent9" refType="h" fact="0.0952"/>
          <dgm:constr type="l" for="ch" forName="Child1" refType="w" fact="0.0186"/>
          <dgm:constr type="t" for="ch" forName="Child1" refType="h" fact="0.1935"/>
          <dgm:constr type="w" for="ch" forName="Child1" refType="w" fact="0.1982"/>
          <dgm:constr type="h" for="ch" forName="Child1" refType="h" fact="0.3479"/>
          <dgm:constr type="l" for="ch" forName="Child2" refType="w" fact="0.7086"/>
          <dgm:constr type="t" for="ch" forName="Child2" refType="h" fact="0.0298"/>
          <dgm:constr type="w" for="ch" forName="Child2" refType="w" fact="0.1982"/>
          <dgm:constr type="h" for="ch" forName="Child2" refType="h" fact="0.3479"/>
          <dgm:constr type="l" for="ch" forName="Child3" refType="w" fact="0.8018"/>
          <dgm:constr type="t" for="ch" forName="Child3" refType="h" fact="0.6312"/>
          <dgm:constr type="w" for="ch" forName="Child3" refType="w" fact="0.1982"/>
          <dgm:constr type="h" for="ch" forName="Child3" refType="h" fact="0.3479"/>
          <dgm:constr type="l" for="ch" forName="Accent12" refType="w" fact="0.7459"/>
          <dgm:constr type="t" for="ch" forName="Accent12" refType="h" fact="0.619"/>
          <dgm:constr type="w" for="ch" forName="Accent12" refType="w" fact="0.0393"/>
          <dgm:constr type="h" for="ch" forName="Accent12" refType="h" fact="0.069"/>
          <dgm:constr type="l" for="ch" forName="Accent4" refType="w" fact="0.5021"/>
          <dgm:constr type="t" for="ch" forName="Accent4" refType="h" fact="0.9048"/>
          <dgm:constr type="w" for="ch" forName="Accent4" refType="w" fact="0.0542"/>
          <dgm:constr type="h" for="ch" forName="Accent4" refType="h" fact="0.0952"/>
          <dgm:constr type="l" for="ch" forName="Accent10" refType="w" fact="0"/>
          <dgm:constr type="t" for="ch" forName="Accent10" refType="h" fact="0.8482"/>
          <dgm:constr type="w" for="ch" forName="Accent10" refType="w" fact="0.0393"/>
          <dgm:constr type="h" for="ch" forName="Accent10" refType="h" fact="0.069"/>
          <dgm:constr type="l" for="ch" forName="Accent11" refType="w" fact="0.3916"/>
          <dgm:constr type="t" for="ch" forName="Accent11" refType="h" fact="0.75"/>
          <dgm:constr type="w" for="ch" forName="Accent11" refType="w" fact="0.0393"/>
          <dgm:constr type="h" for="ch" forName="Accent11" refType="h" fact="0.069"/>
          <dgm:constr type="l" for="ch" forName="Accent7" refType="w" fact="0.3944"/>
          <dgm:constr type="t" for="ch" forName="Accent7" refType="h" fact="0.1383"/>
          <dgm:constr type="w" for="ch" forName="Accent7" refType="w" fact="0.0542"/>
          <dgm:constr type="h" for="ch" forName="Accent7" refType="h" fact="0.0952"/>
          <dgm:constr type="l" for="ch" forName="Accent5" refType="w" fact="0.3319"/>
          <dgm:constr type="t" for="ch" forName="Accent5" refType="h" fact="0.1353"/>
          <dgm:constr type="w" for="ch" forName="Accent5" refType="w" fact="0.0393"/>
          <dgm:constr type="h" for="ch" forName="Accent5" refType="h" fact="0.069"/>
          <dgm:constr type="l" for="ch" forName="Accent6" refType="w" fact="0.2082"/>
          <dgm:constr type="t" for="ch" forName="Accent6" refType="h" fact="0.53"/>
          <dgm:constr type="w" for="ch" forName="Accent6" refType="w" fact="0.0393"/>
          <dgm:constr type="h" for="ch" forName="Accent6" refType="h" fact="0.069"/>
        </dgm:constrLst>
      </dgm:if>
      <dgm:if name="Name6" axis="ch ch" ptType="node node" func="cnt" op="equ" val="4">
        <dgm:alg type="composite">
          <dgm:param type="ar" val="1.3749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0306"/>
          <dgm:constr type="w" for="ch" forName="Parent" refType="w" fact="0.4875"/>
          <dgm:constr type="h" for="ch" forName="Parent" refType="h" fact="0.6703"/>
          <dgm:constr type="l" for="ch" forName="Accent8" refType="w" fact="0.0373"/>
          <dgm:constr type="t" for="ch" forName="Accent8" refType="h" fact="0.5038"/>
          <dgm:constr type="w" for="ch" forName="Accent8" refType="w" fact="0.098"/>
          <dgm:constr type="h" for="ch" forName="Accent8" refType="h" fact="0.1348"/>
          <dgm:constr type="l" for="ch" forName="Accent1" refType="w" fact="0.4492"/>
          <dgm:constr type="t" for="ch" forName="Accent1" refType="h" fact="0"/>
          <dgm:constr type="w" for="ch" forName="Accent1" refType="w" fact="0.0542"/>
          <dgm:constr type="h" for="ch" forName="Accent1" refType="h" fact="0.0746"/>
          <dgm:constr type="l" for="ch" forName="Accent2" refType="w" fact="0.3209"/>
          <dgm:constr type="t" for="ch" forName="Accent2" refType="h" fact="0.6511"/>
          <dgm:constr type="w" for="ch" forName="Accent2" refType="w" fact="0.0393"/>
          <dgm:constr type="h" for="ch" forName="Accent2" refType="h" fact="0.054"/>
          <dgm:constr type="l" for="ch" forName="Accent3" refType="w" fact="0.6899"/>
          <dgm:constr type="t" for="ch" forName="Accent3" refType="h" fact="0.3026"/>
          <dgm:constr type="w" for="ch" forName="Accent3" refType="w" fact="0.0393"/>
          <dgm:constr type="h" for="ch" forName="Accent3" refType="h" fact="0.054"/>
          <dgm:constr type="l" for="ch" forName="Accent9" refType="w" fact="0.6201"/>
          <dgm:constr type="t" for="ch" forName="Accent9" refType="h" fact="0.2115"/>
          <dgm:constr type="w" for="ch" forName="Accent9" refType="w" fact="0.0542"/>
          <dgm:constr type="h" for="ch" forName="Accent9" refType="h" fact="0.0746"/>
          <dgm:constr type="l" for="ch" forName="Child1" refType="w" fact="0.0186"/>
          <dgm:constr type="t" for="ch" forName="Child1" refType="h" fact="0.1515"/>
          <dgm:constr type="w" for="ch" forName="Child1" refType="w" fact="0.1982"/>
          <dgm:constr type="h" for="ch" forName="Child1" refType="h" fact="0.2725"/>
          <dgm:constr type="l" for="ch" forName="Child2" refType="w" fact="0.7086"/>
          <dgm:constr type="t" for="ch" forName="Child2" refType="h" fact="0.0233"/>
          <dgm:constr type="w" for="ch" forName="Child2" refType="w" fact="0.1982"/>
          <dgm:constr type="h" for="ch" forName="Child2" refType="h" fact="0.2725"/>
          <dgm:constr type="l" for="ch" forName="Child3" refType="w" fact="0.8018"/>
          <dgm:constr type="t" for="ch" forName="Child3" refType="h" fact="0.4943"/>
          <dgm:constr type="w" for="ch" forName="Child3" refType="w" fact="0.1982"/>
          <dgm:constr type="h" for="ch" forName="Child3" refType="h" fact="0.2725"/>
          <dgm:constr type="l" for="ch" forName="Accent12" refType="w" fact="0.7459"/>
          <dgm:constr type="t" for="ch" forName="Accent12" refType="h" fact="0.4848"/>
          <dgm:constr type="w" for="ch" forName="Accent12" refType="w" fact="0.0393"/>
          <dgm:constr type="h" for="ch" forName="Accent12" refType="h" fact="0.054"/>
          <dgm:constr type="l" for="ch" forName="Accent4" refType="w" fact="0.5021"/>
          <dgm:constr type="t" for="ch" forName="Accent4" refType="h" fact="0.7085"/>
          <dgm:constr type="w" for="ch" forName="Accent4" refType="w" fact="0.0542"/>
          <dgm:constr type="h" for="ch" forName="Accent4" refType="h" fact="0.0746"/>
          <dgm:constr type="l" for="ch" forName="Accent10" refType="w" fact="0"/>
          <dgm:constr type="t" for="ch" forName="Accent10" refType="h" fact="0.6642"/>
          <dgm:constr type="w" for="ch" forName="Accent10" refType="w" fact="0.0393"/>
          <dgm:constr type="h" for="ch" forName="Accent10" refType="h" fact="0.054"/>
          <dgm:constr type="l" for="ch" forName="Accent11" refType="w" fact="0.3916"/>
          <dgm:constr type="t" for="ch" forName="Accent11" refType="h" fact="0.5873"/>
          <dgm:constr type="w" for="ch" forName="Accent11" refType="w" fact="0.0393"/>
          <dgm:constr type="h" for="ch" forName="Accent11" refType="h" fact="0.054"/>
          <dgm:constr type="l" for="ch" forName="Accent7" refType="w" fact="0.3944"/>
          <dgm:constr type="t" for="ch" forName="Accent7" refType="h" fact="0.1083"/>
          <dgm:constr type="w" for="ch" forName="Accent7" refType="w" fact="0.0542"/>
          <dgm:constr type="h" for="ch" forName="Accent7" refType="h" fact="0.0746"/>
          <dgm:constr type="l" for="ch" forName="Accent5" refType="w" fact="0.3319"/>
          <dgm:constr type="t" for="ch" forName="Accent5" refType="h" fact="0.1059"/>
          <dgm:constr type="w" for="ch" forName="Accent5" refType="w" fact="0.0393"/>
          <dgm:constr type="h" for="ch" forName="Accent5" refType="h" fact="0.054"/>
          <dgm:constr type="l" for="ch" forName="Accent6" refType="w" fact="0.2082"/>
          <dgm:constr type="t" for="ch" forName="Accent6" refType="h" fact="0.4151"/>
          <dgm:constr type="w" for="ch" forName="Accent6" refType="w" fact="0.0393"/>
          <dgm:constr type="h" for="ch" forName="Accent6" refType="h" fact="0.054"/>
          <dgm:constr type="l" for="ch" forName="Child4" refType="w" fact="0.2329"/>
          <dgm:constr type="t" for="ch" forName="Child4" refType="h" fact="0.7275"/>
          <dgm:constr type="w" for="ch" forName="Child4" refType="w" fact="0.1982"/>
          <dgm:constr type="h" for="ch" forName="Child4" refType="h" fact="0.2725"/>
          <dgm:constr type="l" for="ch" forName="Accent13" refType="w" fact="0.4099"/>
          <dgm:constr type="t" for="ch" forName="Accent13" refType="h" fact="0.7183"/>
          <dgm:constr type="w" for="ch" forName="Accent13" refType="w" fact="0.0393"/>
          <dgm:constr type="h" for="ch" forName="Accent13" refType="h" fact="0.054"/>
        </dgm:constrLst>
      </dgm:if>
      <dgm:else name="Name7">
        <dgm:alg type="composite">
          <dgm:param type="ar" val="1.1477"/>
        </dgm:alg>
        <dgm:constrLst>
          <dgm:constr type="primFontSz" for="des" ptType="node" op="equ" val="65"/>
          <dgm:constr type="l" for="ch" forName="Parent" refType="w" fact="0.171"/>
          <dgm:constr type="t" for="ch" forName="Parent" refType="h" fact="0.1907"/>
          <dgm:constr type="w" for="ch" forName="Parent" refType="w" fact="0.4875"/>
          <dgm:constr type="h" for="ch" forName="Parent" refType="h" fact="0.5596"/>
          <dgm:constr type="l" for="ch" forName="Accent8" refType="w" fact="0.0373"/>
          <dgm:constr type="t" for="ch" forName="Accent8" refType="h" fact="0.5858"/>
          <dgm:constr type="w" for="ch" forName="Accent8" refType="w" fact="0.098"/>
          <dgm:constr type="h" for="ch" forName="Accent8" refType="h" fact="0.1125"/>
          <dgm:constr type="l" for="ch" forName="Accent1" refType="w" fact="0.4492"/>
          <dgm:constr type="t" for="ch" forName="Accent1" refType="h" fact="0.1652"/>
          <dgm:constr type="w" for="ch" forName="Accent1" refType="w" fact="0.0542"/>
          <dgm:constr type="h" for="ch" forName="Accent1" refType="h" fact="0.0623"/>
          <dgm:constr type="l" for="ch" forName="Accent2" refType="w" fact="0.3209"/>
          <dgm:constr type="t" for="ch" forName="Accent2" refType="h" fact="0.7087"/>
          <dgm:constr type="w" for="ch" forName="Accent2" refType="w" fact="0.0393"/>
          <dgm:constr type="h" for="ch" forName="Accent2" refType="h" fact="0.0451"/>
          <dgm:constr type="l" for="ch" forName="Accent3" refType="w" fact="0.6899"/>
          <dgm:constr type="t" for="ch" forName="Accent3" refType="h" fact="0.4178"/>
          <dgm:constr type="w" for="ch" forName="Accent3" refType="w" fact="0.0393"/>
          <dgm:constr type="h" for="ch" forName="Accent3" refType="h" fact="0.0451"/>
          <dgm:constr type="l" for="ch" forName="Accent9" refType="w" fact="0.6201"/>
          <dgm:constr type="t" for="ch" forName="Accent9" refType="h" fact="0.3417"/>
          <dgm:constr type="w" for="ch" forName="Accent9" refType="w" fact="0.0542"/>
          <dgm:constr type="h" for="ch" forName="Accent9" refType="h" fact="0.0623"/>
          <dgm:constr type="l" for="ch" forName="Child1" refType="w" fact="0.0186"/>
          <dgm:constr type="t" for="ch" forName="Child1" refType="h" fact="0.2917"/>
          <dgm:constr type="w" for="ch" forName="Child1" refType="w" fact="0.1982"/>
          <dgm:constr type="h" for="ch" forName="Child1" refType="h" fact="0.2275"/>
          <dgm:constr type="l" for="ch" forName="Child2" refType="w" fact="0.7086"/>
          <dgm:constr type="t" for="ch" forName="Child2" refType="h" fact="0.1847"/>
          <dgm:constr type="w" for="ch" forName="Child2" refType="w" fact="0.1982"/>
          <dgm:constr type="h" for="ch" forName="Child2" refType="h" fact="0.2275"/>
          <dgm:constr type="l" for="ch" forName="Child3" refType="w" fact="0.8018"/>
          <dgm:constr type="t" for="ch" forName="Child3" refType="h" fact="0.5778"/>
          <dgm:constr type="w" for="ch" forName="Child3" refType="w" fact="0.1982"/>
          <dgm:constr type="h" for="ch" forName="Child3" refType="h" fact="0.2275"/>
          <dgm:constr type="l" for="ch" forName="Accent12" refType="w" fact="0.7459"/>
          <dgm:constr type="t" for="ch" forName="Accent12" refType="h" fact="0.5699"/>
          <dgm:constr type="w" for="ch" forName="Accent12" refType="w" fact="0.0393"/>
          <dgm:constr type="h" for="ch" forName="Accent12" refType="h" fact="0.0451"/>
          <dgm:constr type="l" for="ch" forName="Accent4" refType="w" fact="0.5021"/>
          <dgm:constr type="t" for="ch" forName="Accent4" refType="h" fact="0.7567"/>
          <dgm:constr type="w" for="ch" forName="Accent4" refType="w" fact="0.0542"/>
          <dgm:constr type="h" for="ch" forName="Accent4" refType="h" fact="0.0623"/>
          <dgm:constr type="l" for="ch" forName="Accent10" refType="w" fact="0"/>
          <dgm:constr type="t" for="ch" forName="Accent10" refType="h" fact="0.7197"/>
          <dgm:constr type="w" for="ch" forName="Accent10" refType="w" fact="0.0393"/>
          <dgm:constr type="h" for="ch" forName="Accent10" refType="h" fact="0.0451"/>
          <dgm:constr type="l" for="ch" forName="Accent11" refType="w" fact="0.3916"/>
          <dgm:constr type="t" for="ch" forName="Accent11" refType="h" fact="0.6555"/>
          <dgm:constr type="w" for="ch" forName="Accent11" refType="w" fact="0.0393"/>
          <dgm:constr type="h" for="ch" forName="Accent11" refType="h" fact="0.0451"/>
          <dgm:constr type="l" for="ch" forName="Accent7" refType="w" fact="0.3944"/>
          <dgm:constr type="t" for="ch" forName="Accent7" refType="h" fact="0.2556"/>
          <dgm:constr type="w" for="ch" forName="Accent7" refType="w" fact="0.0542"/>
          <dgm:constr type="h" for="ch" forName="Accent7" refType="h" fact="0.0623"/>
          <dgm:constr type="l" for="ch" forName="Accent5" refType="w" fact="0.3319"/>
          <dgm:constr type="t" for="ch" forName="Accent5" refType="h" fact="0.2536"/>
          <dgm:constr type="w" for="ch" forName="Accent5" refType="w" fact="0.0393"/>
          <dgm:constr type="h" for="ch" forName="Accent5" refType="h" fact="0.0451"/>
          <dgm:constr type="l" for="ch" forName="Accent6" refType="w" fact="0.2082"/>
          <dgm:constr type="t" for="ch" forName="Accent6" refType="h" fact="0.5117"/>
          <dgm:constr type="w" for="ch" forName="Accent6" refType="w" fact="0.0393"/>
          <dgm:constr type="h" for="ch" forName="Accent6" refType="h" fact="0.0451"/>
          <dgm:constr type="l" for="ch" forName="Child5" refType="w" fact="0.4219"/>
          <dgm:constr type="t" for="ch" forName="Child5" refType="h" fact="0"/>
          <dgm:constr type="w" for="ch" forName="Child5" refType="w" fact="0.1982"/>
          <dgm:constr type="h" for="ch" forName="Child5" refType="h" fact="0.2275"/>
          <dgm:constr type="l" for="ch" forName="Child4" refType="w" fact="0.2329"/>
          <dgm:constr type="t" for="ch" forName="Child4" refType="h" fact="0.7725"/>
          <dgm:constr type="w" for="ch" forName="Child4" refType="w" fact="0.1982"/>
          <dgm:constr type="h" for="ch" forName="Child4" refType="h" fact="0.2275"/>
          <dgm:constr type="l" for="ch" forName="Accent15" refType="w" fact="0.1775"/>
          <dgm:constr type="t" for="ch" forName="Accent15" refType="h" fact="0.2466"/>
          <dgm:constr type="w" for="ch" forName="Accent15" refType="w" fact="0.0393"/>
          <dgm:constr type="h" for="ch" forName="Accent15" refType="h" fact="0.0451"/>
          <dgm:constr type="l" for="ch" forName="Accent16" refType="w" fact="0.6351"/>
          <dgm:constr type="t" for="ch" forName="Accent16" refType="h" fact="0.056"/>
          <dgm:constr type="w" for="ch" forName="Accent16" refType="w" fact="0.0393"/>
          <dgm:constr type="h" for="ch" forName="Accent16" refType="h" fact="0.0451"/>
          <dgm:constr type="l" for="ch" forName="Accent13" refType="w" fact="0.4099"/>
          <dgm:constr type="t" for="ch" forName="Accent13" refType="h" fact="0.7648"/>
          <dgm:constr type="w" for="ch" forName="Accent13" refType="w" fact="0.0393"/>
          <dgm:constr type="h" for="ch" forName="Accent13" refType="h" fact="0.0451"/>
        </dgm:constrLst>
      </dgm:else>
    </dgm:choose>
    <dgm:forEach name="wrapper" axis="self" ptType="parTrans">
      <dgm:forEach name="accentRepeat1" axis="self">
        <dgm:layoutNode name="AccentHold1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accentRepeat2" axis="self">
        <dgm:layoutNode name="AccentHold2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  <dgm:forEach name="accentRepeat3" axis="self">
        <dgm:layoutNode name="AccentHold3" styleLbl="node1">
          <dgm:alg type="sp"/>
          <dgm:shape xmlns:r="http://schemas.openxmlformats.org/officeDocument/2006/relationships" type="ellipse" r:blip="">
            <dgm:adjLst/>
          </dgm:shape>
          <dgm:presOf/>
        </dgm:layoutNode>
      </dgm:forEach>
    </dgm:forEach>
    <dgm:forEach name="Name8" axis="ch" ptType="node" cnt="1">
      <dgm:layoutNode name="Parent" styleLbl="node0">
        <dgm:varLst>
          <dgm:chMax val="5"/>
          <dgm:chPref val="5"/>
        </dgm:varLst>
        <dgm:alg type="tx"/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choose name="Name9">
        <dgm:if name="Name10" axis="ch" ptType="node" func="cnt" op="lte" val="4">
          <dgm:layoutNode name="Accent1" styleLbl="node1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</dgm:layoutNode>
        </dgm:if>
        <dgm:else name="Name11"/>
      </dgm:choose>
      <dgm:layoutNode name="Accent2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3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4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5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  <dgm:layoutNode name="Accent6" styleLbl="node1">
        <dgm:alg type="sp"/>
        <dgm:shape xmlns:r="http://schemas.openxmlformats.org/officeDocument/2006/relationships" type="ellipse" r:blip="">
          <dgm:adjLst/>
        </dgm:shape>
        <dgm:presOf/>
        <dgm:constrLst/>
      </dgm:layoutNode>
    </dgm:forEach>
    <dgm:forEach name="Name12" axis="ch ch" ptType="node node" st="1 1" cnt="1 1">
      <dgm:layoutNode name="Child1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3" ref="accentRepeat1"/>
      </dgm:layoutNode>
      <dgm:layoutNode name="Accent8">
        <dgm:alg type="sp"/>
        <dgm:shape xmlns:r="http://schemas.openxmlformats.org/officeDocument/2006/relationships" r:blip="">
          <dgm:adjLst/>
        </dgm:shape>
        <dgm:presOf/>
        <dgm:constrLst/>
        <dgm:forEach name="Name14" ref="accentRepeat2"/>
      </dgm:layoutNode>
    </dgm:forEach>
    <dgm:forEach name="Name15" axis="ch ch" ptType="node node" st="1 2" cnt="1 1">
      <dgm:layoutNode name="Child2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9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1"/>
      </dgm:layoutNode>
      <dgm:layoutNode name="Accent10">
        <dgm:alg type="sp"/>
        <dgm:shape xmlns:r="http://schemas.openxmlformats.org/officeDocument/2006/relationships" r:blip="">
          <dgm:adjLst/>
        </dgm:shape>
        <dgm:presOf/>
        <dgm:constrLst/>
        <dgm:forEach name="Name17" ref="accentRepeat2"/>
      </dgm:layoutNode>
      <dgm:layoutNode name="Accent11">
        <dgm:alg type="sp"/>
        <dgm:shape xmlns:r="http://schemas.openxmlformats.org/officeDocument/2006/relationships" r:blip="">
          <dgm:adjLst/>
        </dgm:shape>
        <dgm:presOf/>
        <dgm:constrLst/>
        <dgm:forEach name="Name18" ref="accentRepeat3"/>
      </dgm:layoutNode>
    </dgm:forEach>
    <dgm:forEach name="Name19" axis="ch ch" ptType="node node" st="1 3" cnt="1 1">
      <dgm:layoutNode name="Child3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2">
        <dgm:alg type="sp"/>
        <dgm:shape xmlns:r="http://schemas.openxmlformats.org/officeDocument/2006/relationships" r:blip="">
          <dgm:adjLst/>
        </dgm:shape>
        <dgm:presOf/>
        <dgm:constrLst/>
        <dgm:forEach name="Name20" ref="accentRepeat1"/>
      </dgm:layoutNode>
    </dgm:forEach>
    <dgm:forEach name="Name21" axis="ch ch" ptType="node node" st="1 4" cnt="1 1">
      <dgm:layoutNode name="Child4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3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1"/>
      </dgm:layoutNode>
    </dgm:forEach>
    <dgm:forEach name="Name23" axis="ch ch" ptType="node node" st="1 5" cnt="1 1">
      <dgm:layoutNode name="Child5" styleLbl="node1">
        <dgm:varLst>
          <dgm:chMax val="0"/>
          <dgm:chPref val="0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ellipse" r:blip="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15">
        <dgm:alg type="sp"/>
        <dgm:shape xmlns:r="http://schemas.openxmlformats.org/officeDocument/2006/relationships" r:blip="">
          <dgm:adjLst/>
        </dgm:shape>
        <dgm:presOf/>
        <dgm:constrLst/>
        <dgm:forEach name="Name24" ref="accentRepeat2"/>
      </dgm:layoutNode>
      <dgm:layoutNode name="Accent16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3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1" name="Shape 971"/>
          <p:cNvSpPr>
            <a:spLocks noGrp="1" noRot="1" noChangeAspect="1"/>
          </p:cNvSpPr>
          <p:nvPr>
            <p:ph type="sldImg"/>
          </p:nvPr>
        </p:nvSpPr>
        <p:spPr>
          <a:xfrm>
            <a:off x="915988" y="744538"/>
            <a:ext cx="4967287" cy="3724275"/>
          </a:xfrm>
          <a:prstGeom prst="rect">
            <a:avLst/>
          </a:prstGeom>
        </p:spPr>
        <p:txBody>
          <a:bodyPr lIns="93270" tIns="46636" rIns="93270" bIns="46636"/>
          <a:lstStyle/>
          <a:p>
            <a:endParaRPr/>
          </a:p>
        </p:txBody>
      </p:sp>
      <p:sp>
        <p:nvSpPr>
          <p:cNvPr id="972" name="Shape 972"/>
          <p:cNvSpPr>
            <a:spLocks noGrp="1"/>
          </p:cNvSpPr>
          <p:nvPr>
            <p:ph type="body" sz="quarter" idx="1"/>
          </p:nvPr>
        </p:nvSpPr>
        <p:spPr>
          <a:xfrm>
            <a:off x="906569" y="4716661"/>
            <a:ext cx="4986127" cy="4468415"/>
          </a:xfrm>
          <a:prstGeom prst="rect">
            <a:avLst/>
          </a:prstGeom>
        </p:spPr>
        <p:txBody>
          <a:bodyPr lIns="93270" tIns="46636" rIns="93270" bIns="46636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699621064"/>
      </p:ext>
    </p:extLst>
  </p:cSld>
  <p:clrMap bg1="lt1" tx1="dk1" bg2="lt2" tx2="dk2" accent1="accent1" accent2="accent2" accent3="accent3" accent4="accent4" accent5="accent5" accent6="accent6" hlink="hlink" folHlink="folHlink"/>
  <p:notesStyle>
    <a:lvl1pPr latinLnBrk="0">
      <a:defRPr sz="1200">
        <a:latin typeface="+mj-lt"/>
        <a:ea typeface="+mj-ea"/>
        <a:cs typeface="+mj-cs"/>
        <a:sym typeface="Calibri"/>
      </a:defRPr>
    </a:lvl1pPr>
    <a:lvl2pPr indent="228600" latinLnBrk="0">
      <a:defRPr sz="1200">
        <a:latin typeface="+mj-lt"/>
        <a:ea typeface="+mj-ea"/>
        <a:cs typeface="+mj-cs"/>
        <a:sym typeface="Calibri"/>
      </a:defRPr>
    </a:lvl2pPr>
    <a:lvl3pPr indent="457200" latinLnBrk="0">
      <a:defRPr sz="1200">
        <a:latin typeface="+mj-lt"/>
        <a:ea typeface="+mj-ea"/>
        <a:cs typeface="+mj-cs"/>
        <a:sym typeface="Calibri"/>
      </a:defRPr>
    </a:lvl3pPr>
    <a:lvl4pPr indent="685800" latinLnBrk="0">
      <a:defRPr sz="1200">
        <a:latin typeface="+mj-lt"/>
        <a:ea typeface="+mj-ea"/>
        <a:cs typeface="+mj-cs"/>
        <a:sym typeface="Calibri"/>
      </a:defRPr>
    </a:lvl4pPr>
    <a:lvl5pPr indent="914400" latinLnBrk="0">
      <a:defRPr sz="1200">
        <a:latin typeface="+mj-lt"/>
        <a:ea typeface="+mj-ea"/>
        <a:cs typeface="+mj-cs"/>
        <a:sym typeface="Calibri"/>
      </a:defRPr>
    </a:lvl5pPr>
    <a:lvl6pPr indent="1143000" latinLnBrk="0">
      <a:defRPr sz="1200">
        <a:latin typeface="+mj-lt"/>
        <a:ea typeface="+mj-ea"/>
        <a:cs typeface="+mj-cs"/>
        <a:sym typeface="Calibri"/>
      </a:defRPr>
    </a:lvl6pPr>
    <a:lvl7pPr indent="1371600" latinLnBrk="0">
      <a:defRPr sz="1200">
        <a:latin typeface="+mj-lt"/>
        <a:ea typeface="+mj-ea"/>
        <a:cs typeface="+mj-cs"/>
        <a:sym typeface="Calibri"/>
      </a:defRPr>
    </a:lvl7pPr>
    <a:lvl8pPr indent="1600200" latinLnBrk="0">
      <a:defRPr sz="1200">
        <a:latin typeface="+mj-lt"/>
        <a:ea typeface="+mj-ea"/>
        <a:cs typeface="+mj-cs"/>
        <a:sym typeface="Calibri"/>
      </a:defRPr>
    </a:lvl8pPr>
    <a:lvl9pPr indent="1828800" latinLnBrk="0">
      <a:defRPr sz="1200">
        <a:latin typeface="+mj-lt"/>
        <a:ea typeface="+mj-ea"/>
        <a:cs typeface="+mj-cs"/>
        <a:sym typeface="Calibri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2941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รูปบนสไลด์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ตัวแทนบันทึกย่อ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ตัวแทนหมายเลขสไลด์ 3"/>
          <p:cNvSpPr>
            <a:spLocks noGrp="1"/>
          </p:cNvSpPr>
          <p:nvPr>
            <p:ph type="sldNum" sz="quarter" idx="10"/>
          </p:nvPr>
        </p:nvSpPr>
        <p:spPr/>
        <p:txBody>
          <a:bodyPr lIns="91531" tIns="45766" rIns="91531" bIns="45766"/>
          <a:lstStyle/>
          <a:p>
            <a:pPr algn="r" defTabSz="915314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090A679-F33C-4EBC-B1C8-010D777E05A0}" type="slidenum">
              <a:rPr lang="en-US" sz="1200" kern="1200">
                <a:solidFill>
                  <a:prstClr val="black"/>
                </a:solidFill>
                <a:latin typeface="Calibri" pitchFamily="34" charset="0"/>
                <a:ea typeface="+mn-ea"/>
                <a:cs typeface="Cordia New" pitchFamily="34" charset="-34"/>
              </a:rPr>
              <a:pPr algn="r" defTabSz="915314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18</a:t>
            </a:fld>
            <a:endParaRPr lang="en-US" sz="1200" kern="1200">
              <a:solidFill>
                <a:prstClr val="black"/>
              </a:solidFill>
              <a:latin typeface="Calibri" pitchFamily="34" charset="0"/>
              <a:ea typeface="+mn-ea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4952966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รูปบนสไลด์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ตัวแทนบันทึกย่อ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ตัวแทนหมายเลขสไลด์ 3"/>
          <p:cNvSpPr>
            <a:spLocks noGrp="1"/>
          </p:cNvSpPr>
          <p:nvPr>
            <p:ph type="sldNum" sz="quarter" idx="10"/>
          </p:nvPr>
        </p:nvSpPr>
        <p:spPr/>
        <p:txBody>
          <a:bodyPr lIns="91531" tIns="45766" rIns="91531" bIns="45766"/>
          <a:lstStyle/>
          <a:p>
            <a:pPr algn="r" defTabSz="915314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090A679-F33C-4EBC-B1C8-010D777E05A0}" type="slidenum">
              <a:rPr lang="en-US" sz="1200" kern="1200">
                <a:solidFill>
                  <a:prstClr val="black"/>
                </a:solidFill>
                <a:latin typeface="Calibri" pitchFamily="34" charset="0"/>
                <a:ea typeface="+mn-ea"/>
                <a:cs typeface="Cordia New" pitchFamily="34" charset="-34"/>
              </a:rPr>
              <a:pPr algn="r" defTabSz="915314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19</a:t>
            </a:fld>
            <a:endParaRPr lang="en-US" sz="1200" kern="1200">
              <a:solidFill>
                <a:prstClr val="black"/>
              </a:solidFill>
              <a:latin typeface="Calibri" pitchFamily="34" charset="0"/>
              <a:ea typeface="+mn-ea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8490718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94463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รูปบนสไลด์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ตัวแทนบันทึกย่อ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ตัวแทนหมายเลขสไลด์ 3"/>
          <p:cNvSpPr>
            <a:spLocks noGrp="1"/>
          </p:cNvSpPr>
          <p:nvPr>
            <p:ph type="sldNum" sz="quarter" idx="10"/>
          </p:nvPr>
        </p:nvSpPr>
        <p:spPr/>
        <p:txBody>
          <a:bodyPr lIns="91531" tIns="45766" rIns="91531" bIns="45766"/>
          <a:lstStyle/>
          <a:p>
            <a:pPr algn="r" defTabSz="915314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090A679-F33C-4EBC-B1C8-010D777E05A0}" type="slidenum">
              <a:rPr lang="en-US" sz="1200" kern="1200">
                <a:solidFill>
                  <a:prstClr val="black"/>
                </a:solidFill>
                <a:latin typeface="Calibri" pitchFamily="34" charset="0"/>
                <a:ea typeface="+mn-ea"/>
                <a:cs typeface="Cordia New" pitchFamily="34" charset="-34"/>
              </a:rPr>
              <a:pPr algn="r" defTabSz="915314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8</a:t>
            </a:fld>
            <a:endParaRPr lang="en-US" sz="1200" kern="1200">
              <a:solidFill>
                <a:prstClr val="black"/>
              </a:solidFill>
              <a:latin typeface="Calibri" pitchFamily="34" charset="0"/>
              <a:ea typeface="+mn-ea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2307331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รูปบนสไลด์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ตัวแทนบันทึกย่อ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ตัวแทนหมายเลขสไลด์ 3"/>
          <p:cNvSpPr>
            <a:spLocks noGrp="1"/>
          </p:cNvSpPr>
          <p:nvPr>
            <p:ph type="sldNum" sz="quarter" idx="10"/>
          </p:nvPr>
        </p:nvSpPr>
        <p:spPr/>
        <p:txBody>
          <a:bodyPr lIns="91531" tIns="45766" rIns="91531" bIns="45766"/>
          <a:lstStyle/>
          <a:p>
            <a:pPr algn="r" defTabSz="915314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090A679-F33C-4EBC-B1C8-010D777E05A0}" type="slidenum">
              <a:rPr lang="en-US" sz="1200" kern="1200">
                <a:solidFill>
                  <a:prstClr val="black"/>
                </a:solidFill>
                <a:latin typeface="Calibri" pitchFamily="34" charset="0"/>
                <a:ea typeface="+mn-ea"/>
                <a:cs typeface="Cordia New" pitchFamily="34" charset="-34"/>
              </a:rPr>
              <a:pPr algn="r" defTabSz="915314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9</a:t>
            </a:fld>
            <a:endParaRPr lang="en-US" sz="1200" kern="1200">
              <a:solidFill>
                <a:prstClr val="black"/>
              </a:solidFill>
              <a:latin typeface="Calibri" pitchFamily="34" charset="0"/>
              <a:ea typeface="+mn-ea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8302291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รูปบนสไลด์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ตัวแทนบันทึกย่อ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ตัวแทนหมายเลขสไลด์ 3"/>
          <p:cNvSpPr>
            <a:spLocks noGrp="1"/>
          </p:cNvSpPr>
          <p:nvPr>
            <p:ph type="sldNum" sz="quarter" idx="10"/>
          </p:nvPr>
        </p:nvSpPr>
        <p:spPr/>
        <p:txBody>
          <a:bodyPr lIns="91531" tIns="45766" rIns="91531" bIns="45766"/>
          <a:lstStyle/>
          <a:p>
            <a:pPr algn="r" defTabSz="932706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090A679-F33C-4EBC-B1C8-010D777E05A0}" type="slidenum">
              <a:rPr lang="en-US" sz="1200" kern="1200">
                <a:solidFill>
                  <a:prstClr val="black"/>
                </a:solidFill>
                <a:latin typeface="Calibri" pitchFamily="34" charset="0"/>
                <a:ea typeface="+mn-ea"/>
                <a:cs typeface="Cordia New" pitchFamily="34" charset="-34"/>
              </a:rPr>
              <a:pPr algn="r" defTabSz="932706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10</a:t>
            </a:fld>
            <a:endParaRPr lang="en-US" sz="1200" kern="1200">
              <a:solidFill>
                <a:prstClr val="black"/>
              </a:solidFill>
              <a:latin typeface="Calibri" pitchFamily="34" charset="0"/>
              <a:ea typeface="+mn-ea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6520132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รูปบนภาพนิ่ง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ตัวแทนบันทึกย่อ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6036" indent="-286036">
              <a:buFont typeface="Wingdings" pitchFamily="2" charset="2"/>
              <a:buChar char="Ø"/>
            </a:pPr>
            <a:r>
              <a:rPr lang="th-TH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ตัวชี้วัดที่ 7.</a:t>
            </a:r>
            <a:r>
              <a:rPr lang="en-US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b</a:t>
            </a:r>
            <a:r>
              <a:rPr lang="th-TH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.1 ยังไม่มีความชัดเจนในเรื่อง </a:t>
            </a:r>
            <a:r>
              <a:rPr lang="en-US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Metadata </a:t>
            </a:r>
            <a:r>
              <a:rPr lang="th-TH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ดังนั้น กระทรวงพลังงานจึงรายงานเป้าหมาย/สถานะตามที่เข้าใจ </a:t>
            </a:r>
          </a:p>
          <a:p>
            <a:pPr marL="286036" indent="-286036" algn="l" defTabSz="915314" rtl="0">
              <a:buFont typeface="Wingdings" pitchFamily="2" charset="2"/>
              <a:buChar char="Ø"/>
              <a:defRPr/>
            </a:pPr>
            <a:r>
              <a:rPr lang="th-TH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ตั้งเป้าหมาย คือ ประเทศไทยมีการลงทุนในโครงสร้างพื้นฐานด้านพลังงานเพียงพอต่อการรองรับการเจริญเติบโตทางเศรษฐกิจและการพัฒนาประเทศในทุกด้าน </a:t>
            </a:r>
            <a:endParaRPr lang="en-US" sz="14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6036" indent="-286036" algn="l" defTabSz="915314" rtl="0">
              <a:buFont typeface="Wingdings" pitchFamily="2" charset="2"/>
              <a:buChar char="Ø"/>
              <a:defRPr/>
            </a:pPr>
            <a:r>
              <a:rPr lang="th-TH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สถานภาพ ปี 2558 การลงทุนและเงินที่เข้าสู่ระบบเศรษฐกิจภาคพลังงาน เท่ากับ 489,266 ล้านบาท</a:t>
            </a:r>
            <a:endParaRPr lang="en-US" sz="14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6036" indent="-286036">
              <a:buFont typeface="Wingdings" pitchFamily="2" charset="2"/>
              <a:buChar char="Ø"/>
            </a:pPr>
            <a:r>
              <a:rPr lang="th-TH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สำหรับ </a:t>
            </a:r>
            <a:r>
              <a:rPr lang="en-US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Roadmap </a:t>
            </a:r>
            <a:r>
              <a:rPr lang="th-TH" sz="1400" dirty="0">
                <a:latin typeface="Tahoma" pitchFamily="34" charset="0"/>
                <a:ea typeface="Tahoma" pitchFamily="34" charset="0"/>
                <a:cs typeface="Tahoma" pitchFamily="34" charset="0"/>
              </a:rPr>
              <a:t>ใช้แนวทางการลงทุนในโครงสร้างพื้นฐานด้านพลังงานตามแผนยุทธศาสตร์ 20 ปี ของกระทรวงพลังงาน</a:t>
            </a:r>
          </a:p>
        </p:txBody>
      </p:sp>
      <p:sp>
        <p:nvSpPr>
          <p:cNvPr id="4" name="ตัวแทนหมายเลขภาพนิ่ง 3"/>
          <p:cNvSpPr>
            <a:spLocks noGrp="1"/>
          </p:cNvSpPr>
          <p:nvPr>
            <p:ph type="sldNum" sz="quarter" idx="10"/>
          </p:nvPr>
        </p:nvSpPr>
        <p:spPr/>
        <p:txBody>
          <a:bodyPr lIns="91531" tIns="45766" rIns="91531" bIns="45766"/>
          <a:lstStyle/>
          <a:p>
            <a:fld id="{9CB85033-26B1-4A01-8CB3-C7546E4BA9F9}" type="slidenum">
              <a:rPr lang="th-TH" smtClean="0">
                <a:solidFill>
                  <a:prstClr val="black"/>
                </a:solidFill>
              </a:rPr>
              <a:pPr/>
              <a:t>13</a:t>
            </a:fld>
            <a:endParaRPr lang="th-TH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3379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รูปบนสไลด์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ตัวแทนบันทึกย่อ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ตัวแทนหมายเลขสไลด์ 3"/>
          <p:cNvSpPr>
            <a:spLocks noGrp="1"/>
          </p:cNvSpPr>
          <p:nvPr>
            <p:ph type="sldNum" sz="quarter" idx="10"/>
          </p:nvPr>
        </p:nvSpPr>
        <p:spPr/>
        <p:txBody>
          <a:bodyPr lIns="91531" tIns="45766" rIns="91531" bIns="45766"/>
          <a:lstStyle/>
          <a:p>
            <a:pPr algn="r" defTabSz="915314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090A679-F33C-4EBC-B1C8-010D777E05A0}" type="slidenum">
              <a:rPr lang="en-US" sz="1200" kern="1200">
                <a:solidFill>
                  <a:prstClr val="black"/>
                </a:solidFill>
                <a:latin typeface="Calibri" pitchFamily="34" charset="0"/>
                <a:ea typeface="+mn-ea"/>
                <a:cs typeface="Cordia New" pitchFamily="34" charset="-34"/>
              </a:rPr>
              <a:pPr algn="r" defTabSz="915314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15</a:t>
            </a:fld>
            <a:endParaRPr lang="en-US" sz="1200" kern="1200">
              <a:solidFill>
                <a:prstClr val="black"/>
              </a:solidFill>
              <a:latin typeface="Calibri" pitchFamily="34" charset="0"/>
              <a:ea typeface="+mn-ea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332643057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รูปบนสไลด์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ตัวแทนบันทึกย่อ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ตัวแทนหมายเลขสไลด์ 3"/>
          <p:cNvSpPr>
            <a:spLocks noGrp="1"/>
          </p:cNvSpPr>
          <p:nvPr>
            <p:ph type="sldNum" sz="quarter" idx="10"/>
          </p:nvPr>
        </p:nvSpPr>
        <p:spPr/>
        <p:txBody>
          <a:bodyPr lIns="91531" tIns="45766" rIns="91531" bIns="45766"/>
          <a:lstStyle/>
          <a:p>
            <a:pPr algn="r" defTabSz="915314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090A679-F33C-4EBC-B1C8-010D777E05A0}" type="slidenum">
              <a:rPr lang="en-US" sz="1200" kern="1200">
                <a:solidFill>
                  <a:prstClr val="black"/>
                </a:solidFill>
                <a:latin typeface="Calibri" pitchFamily="34" charset="0"/>
                <a:ea typeface="+mn-ea"/>
                <a:cs typeface="Cordia New" pitchFamily="34" charset="-34"/>
              </a:rPr>
              <a:pPr algn="r" defTabSz="915314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16</a:t>
            </a:fld>
            <a:endParaRPr lang="en-US" sz="1200" kern="1200">
              <a:solidFill>
                <a:prstClr val="black"/>
              </a:solidFill>
              <a:latin typeface="Calibri" pitchFamily="34" charset="0"/>
              <a:ea typeface="+mn-ea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25389751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รูปบนสไลด์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ตัวแทนบันทึกย่อ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ตัวแทนหมายเลขสไลด์ 3"/>
          <p:cNvSpPr>
            <a:spLocks noGrp="1"/>
          </p:cNvSpPr>
          <p:nvPr>
            <p:ph type="sldNum" sz="quarter" idx="10"/>
          </p:nvPr>
        </p:nvSpPr>
        <p:spPr/>
        <p:txBody>
          <a:bodyPr lIns="91531" tIns="45766" rIns="91531" bIns="45766"/>
          <a:lstStyle/>
          <a:p>
            <a:pPr algn="r" defTabSz="915314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C090A679-F33C-4EBC-B1C8-010D777E05A0}" type="slidenum">
              <a:rPr lang="en-US" sz="1200" kern="1200">
                <a:solidFill>
                  <a:prstClr val="black"/>
                </a:solidFill>
                <a:latin typeface="Calibri" pitchFamily="34" charset="0"/>
                <a:ea typeface="+mn-ea"/>
                <a:cs typeface="Cordia New" pitchFamily="34" charset="-34"/>
              </a:rPr>
              <a:pPr algn="r" defTabSz="915314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17</a:t>
            </a:fld>
            <a:endParaRPr lang="en-US" sz="1200" kern="1200">
              <a:solidFill>
                <a:prstClr val="black"/>
              </a:solidFill>
              <a:latin typeface="Calibri" pitchFamily="34" charset="0"/>
              <a:ea typeface="+mn-ea"/>
              <a:cs typeface="Cordia New" pitchFamily="34" charset="-34"/>
            </a:endParaRPr>
          </a:p>
        </p:txBody>
      </p:sp>
    </p:spTree>
    <p:extLst>
      <p:ext uri="{BB962C8B-B14F-4D97-AF65-F5344CB8AC3E}">
        <p14:creationId xmlns:p14="http://schemas.microsoft.com/office/powerpoint/2010/main" val="10839790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9.pn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image" Target="../media/image15.png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image" Target="../media/image14.emf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7" name="Picture 66" descr="Picture 6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0" y="1"/>
            <a:ext cx="9140761" cy="6858001"/>
          </a:xfrm>
          <a:prstGeom prst="rect">
            <a:avLst/>
          </a:prstGeom>
          <a:ln w="12700">
            <a:miter lim="400000"/>
          </a:ln>
        </p:spPr>
      </p:pic>
      <p:pic>
        <p:nvPicPr>
          <p:cNvPr id="18" name="Picture 3" descr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65973" y="61550"/>
            <a:ext cx="2685697" cy="860086"/>
          </a:xfrm>
          <a:prstGeom prst="rect">
            <a:avLst/>
          </a:prstGeom>
          <a:ln w="12700">
            <a:miter lim="400000"/>
          </a:ln>
        </p:spPr>
      </p:pic>
      <p:sp>
        <p:nvSpPr>
          <p:cNvPr id="19" name="Title Text"/>
          <p:cNvSpPr txBox="1">
            <a:spLocks noGrp="1"/>
          </p:cNvSpPr>
          <p:nvPr>
            <p:ph type="title"/>
          </p:nvPr>
        </p:nvSpPr>
        <p:spPr>
          <a:xfrm>
            <a:off x="264276" y="1349431"/>
            <a:ext cx="5036086" cy="107721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500">
                <a:solidFill>
                  <a:srgbClr val="FFFFFF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2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231144" y="3009083"/>
            <a:ext cx="4499093" cy="28262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rgbClr val="FFFFFF"/>
                </a:solidFill>
              </a:defRPr>
            </a:lvl1pPr>
            <a:lvl2pPr marL="216639" indent="-215018">
              <a:defRPr sz="1800">
                <a:solidFill>
                  <a:srgbClr val="FFFFFF"/>
                </a:solidFill>
              </a:defRPr>
            </a:lvl2pPr>
            <a:lvl3pPr marL="494421" indent="-295195">
              <a:defRPr sz="1800">
                <a:solidFill>
                  <a:srgbClr val="FFFFFF"/>
                </a:solidFill>
              </a:defRPr>
            </a:lvl3pPr>
            <a:lvl4pPr marL="641209" indent="-173109">
              <a:defRPr sz="1800">
                <a:solidFill>
                  <a:srgbClr val="FFFFFF"/>
                </a:solidFill>
              </a:defRPr>
            </a:lvl4pPr>
            <a:lvl5pPr marL="775646" indent="-143953">
              <a:defRPr sz="1800">
                <a:solidFill>
                  <a:srgbClr val="FFFFFF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140196199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" name="Straight Connector 12"/>
          <p:cNvSpPr/>
          <p:nvPr/>
        </p:nvSpPr>
        <p:spPr>
          <a:xfrm flipV="1">
            <a:off x="4104382" y="6738055"/>
            <a:ext cx="5047556" cy="9719"/>
          </a:xfrm>
          <a:prstGeom prst="line">
            <a:avLst/>
          </a:prstGeom>
          <a:ln w="38100">
            <a:solidFill>
              <a:srgbClr val="9BBB59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76" name="Picture 13" descr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3636" y="6470015"/>
            <a:ext cx="1196837" cy="333836"/>
          </a:xfrm>
          <a:prstGeom prst="rect">
            <a:avLst/>
          </a:prstGeom>
          <a:ln w="12700">
            <a:miter lim="400000"/>
          </a:ln>
        </p:spPr>
      </p:pic>
      <p:sp>
        <p:nvSpPr>
          <p:cNvPr id="17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551489" y="6316630"/>
            <a:ext cx="514268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ctr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178" name="Straight Connector 11"/>
          <p:cNvSpPr/>
          <p:nvPr/>
        </p:nvSpPr>
        <p:spPr>
          <a:xfrm flipV="1">
            <a:off x="-1" y="6786810"/>
            <a:ext cx="6722465" cy="17041"/>
          </a:xfrm>
          <a:prstGeom prst="line">
            <a:avLst/>
          </a:prstGeom>
          <a:ln w="57150">
            <a:solidFill>
              <a:srgbClr val="FF7A00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79" name="Rectangle 5"/>
          <p:cNvSpPr/>
          <p:nvPr/>
        </p:nvSpPr>
        <p:spPr>
          <a:xfrm>
            <a:off x="0" y="0"/>
            <a:ext cx="9144000" cy="1268760"/>
          </a:xfrm>
          <a:prstGeom prst="rect">
            <a:avLst/>
          </a:prstGeom>
          <a:solidFill>
            <a:srgbClr val="FDEADA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</p:spTree>
    <p:extLst>
      <p:ext uri="{BB962C8B-B14F-4D97-AF65-F5344CB8AC3E}">
        <p14:creationId xmlns:p14="http://schemas.microsoft.com/office/powerpoint/2010/main" val="2890416548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8420" y="6453472"/>
            <a:ext cx="514268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ctr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</p:spTree>
    <p:extLst>
      <p:ext uri="{BB962C8B-B14F-4D97-AF65-F5344CB8AC3E}">
        <p14:creationId xmlns:p14="http://schemas.microsoft.com/office/powerpoint/2010/main" val="3576736387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3" name="Straight Connector 11"/>
          <p:cNvSpPr/>
          <p:nvPr/>
        </p:nvSpPr>
        <p:spPr>
          <a:xfrm flipV="1">
            <a:off x="2390885" y="6792367"/>
            <a:ext cx="6722465" cy="17041"/>
          </a:xfrm>
          <a:prstGeom prst="line">
            <a:avLst/>
          </a:prstGeom>
          <a:ln w="57150">
            <a:solidFill>
              <a:srgbClr val="FF7A00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94" name="Straight Connector 12"/>
          <p:cNvSpPr/>
          <p:nvPr/>
        </p:nvSpPr>
        <p:spPr>
          <a:xfrm flipV="1">
            <a:off x="1225994" y="6738055"/>
            <a:ext cx="5047556" cy="9719"/>
          </a:xfrm>
          <a:prstGeom prst="line">
            <a:avLst/>
          </a:prstGeom>
          <a:ln w="38100">
            <a:solidFill>
              <a:srgbClr val="9BBB59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95" name="Picture 13" descr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524166"/>
            <a:ext cx="1196836" cy="333836"/>
          </a:xfrm>
          <a:prstGeom prst="rect">
            <a:avLst/>
          </a:prstGeom>
          <a:ln w="12700">
            <a:miter lim="400000"/>
          </a:ln>
        </p:spPr>
      </p:pic>
      <p:sp>
        <p:nvSpPr>
          <p:cNvPr id="19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8420" y="6453472"/>
            <a:ext cx="514268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ctr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</p:spTree>
    <p:extLst>
      <p:ext uri="{BB962C8B-B14F-4D97-AF65-F5344CB8AC3E}">
        <p14:creationId xmlns:p14="http://schemas.microsoft.com/office/powerpoint/2010/main" val="3124558080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" name="Diamond 25"/>
          <p:cNvSpPr/>
          <p:nvPr/>
        </p:nvSpPr>
        <p:spPr>
          <a:xfrm>
            <a:off x="6790376" y="5048708"/>
            <a:ext cx="1738712" cy="1738609"/>
          </a:xfrm>
          <a:prstGeom prst="diamond">
            <a:avLst/>
          </a:prstGeom>
          <a:solidFill>
            <a:srgbClr val="D9D9D9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grpSp>
        <p:nvGrpSpPr>
          <p:cNvPr id="221" name="Group 43"/>
          <p:cNvGrpSpPr/>
          <p:nvPr/>
        </p:nvGrpSpPr>
        <p:grpSpPr>
          <a:xfrm>
            <a:off x="313581" y="242739"/>
            <a:ext cx="8434884" cy="6426621"/>
            <a:chOff x="0" y="0"/>
            <a:chExt cx="8434882" cy="6426620"/>
          </a:xfrm>
        </p:grpSpPr>
        <p:sp>
          <p:nvSpPr>
            <p:cNvPr id="204" name="Diamond 40"/>
            <p:cNvSpPr/>
            <p:nvPr/>
          </p:nvSpPr>
          <p:spPr>
            <a:xfrm>
              <a:off x="170798" y="3278762"/>
              <a:ext cx="3135825" cy="3135640"/>
            </a:xfrm>
            <a:prstGeom prst="diamond">
              <a:avLst/>
            </a:prstGeom>
            <a:solidFill>
              <a:srgbClr val="FDEADA">
                <a:alpha val="45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TH SarabunPSK"/>
                  <a:ea typeface="TH SarabunPSK"/>
                  <a:cs typeface="TH SarabunPSK"/>
                  <a:sym typeface="TH SarabunPSK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endParaRPr>
            </a:p>
          </p:txBody>
        </p:sp>
        <p:sp>
          <p:nvSpPr>
            <p:cNvPr id="205" name="Diamond 39"/>
            <p:cNvSpPr/>
            <p:nvPr/>
          </p:nvSpPr>
          <p:spPr>
            <a:xfrm>
              <a:off x="202838" y="117956"/>
              <a:ext cx="6309038" cy="6308665"/>
            </a:xfrm>
            <a:prstGeom prst="diamond">
              <a:avLst/>
            </a:prstGeom>
            <a:solidFill>
              <a:srgbClr val="FDEAD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TH SarabunPSK"/>
                  <a:ea typeface="TH SarabunPSK"/>
                  <a:cs typeface="TH SarabunPSK"/>
                  <a:sym typeface="TH SarabunPSK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endParaRPr>
            </a:p>
          </p:txBody>
        </p:sp>
        <p:sp>
          <p:nvSpPr>
            <p:cNvPr id="206" name="Diamond 35"/>
            <p:cNvSpPr/>
            <p:nvPr/>
          </p:nvSpPr>
          <p:spPr>
            <a:xfrm>
              <a:off x="4943963" y="1309906"/>
              <a:ext cx="3490920" cy="3490714"/>
            </a:xfrm>
            <a:prstGeom prst="diamond">
              <a:avLst/>
            </a:prstGeom>
            <a:solidFill>
              <a:srgbClr val="EBF1DE">
                <a:alpha val="64999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TH SarabunPSK"/>
                  <a:ea typeface="TH SarabunPSK"/>
                  <a:cs typeface="TH SarabunPSK"/>
                  <a:sym typeface="TH SarabunPSK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endParaRPr>
            </a:p>
          </p:txBody>
        </p:sp>
        <p:grpSp>
          <p:nvGrpSpPr>
            <p:cNvPr id="219" name="Group 42"/>
            <p:cNvGrpSpPr/>
            <p:nvPr/>
          </p:nvGrpSpPr>
          <p:grpSpPr>
            <a:xfrm>
              <a:off x="-1" y="0"/>
              <a:ext cx="7300073" cy="6184705"/>
              <a:chOff x="0" y="0"/>
              <a:chExt cx="7300071" cy="6184704"/>
            </a:xfrm>
          </p:grpSpPr>
          <p:grpSp>
            <p:nvGrpSpPr>
              <p:cNvPr id="217" name="Group 41"/>
              <p:cNvGrpSpPr/>
              <p:nvPr/>
            </p:nvGrpSpPr>
            <p:grpSpPr>
              <a:xfrm>
                <a:off x="0" y="0"/>
                <a:ext cx="7300072" cy="6184705"/>
                <a:chOff x="0" y="0"/>
                <a:chExt cx="7300071" cy="6184704"/>
              </a:xfrm>
            </p:grpSpPr>
            <p:sp>
              <p:nvSpPr>
                <p:cNvPr id="207" name="Diamond 22"/>
                <p:cNvSpPr/>
                <p:nvPr/>
              </p:nvSpPr>
              <p:spPr>
                <a:xfrm>
                  <a:off x="395431" y="1634959"/>
                  <a:ext cx="236835" cy="236821"/>
                </a:xfrm>
                <a:prstGeom prst="diamond">
                  <a:avLst/>
                </a:prstGeom>
                <a:solidFill>
                  <a:srgbClr val="D7E4BD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208" name="Diamond 23"/>
                <p:cNvSpPr/>
                <p:nvPr/>
              </p:nvSpPr>
              <p:spPr>
                <a:xfrm>
                  <a:off x="826220" y="1922995"/>
                  <a:ext cx="378834" cy="378811"/>
                </a:xfrm>
                <a:prstGeom prst="diamond">
                  <a:avLst/>
                </a:prstGeom>
                <a:solidFill>
                  <a:srgbClr val="D9D9D9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209" name="Diamond 24"/>
                <p:cNvSpPr/>
                <p:nvPr/>
              </p:nvSpPr>
              <p:spPr>
                <a:xfrm>
                  <a:off x="1406496" y="277934"/>
                  <a:ext cx="1131356" cy="1131289"/>
                </a:xfrm>
                <a:prstGeom prst="diamond">
                  <a:avLst/>
                </a:prstGeom>
                <a:solidFill>
                  <a:srgbClr val="99CC0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210" name="Diamond 25"/>
                <p:cNvSpPr/>
                <p:nvPr/>
              </p:nvSpPr>
              <p:spPr>
                <a:xfrm>
                  <a:off x="64356" y="184386"/>
                  <a:ext cx="1738712" cy="1738609"/>
                </a:xfrm>
                <a:prstGeom prst="diamond">
                  <a:avLst/>
                </a:prstGeom>
                <a:solidFill>
                  <a:srgbClr val="D9D9D9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211" name="Diamond 26"/>
                <p:cNvSpPr/>
                <p:nvPr/>
              </p:nvSpPr>
              <p:spPr>
                <a:xfrm>
                  <a:off x="0" y="177685"/>
                  <a:ext cx="2648992" cy="2648836"/>
                </a:xfrm>
                <a:prstGeom prst="diamond">
                  <a:avLst/>
                </a:prstGeom>
                <a:blipFill rotWithShape="1">
                  <a:blip r:embed="rId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212" name="Diamond 27"/>
                <p:cNvSpPr/>
                <p:nvPr/>
              </p:nvSpPr>
              <p:spPr>
                <a:xfrm>
                  <a:off x="6080202" y="4090944"/>
                  <a:ext cx="1219870" cy="1165596"/>
                </a:xfrm>
                <a:prstGeom prst="diamond">
                  <a:avLst/>
                </a:prstGeom>
                <a:blipFill rotWithShape="1"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213" name="Diamond 28"/>
                <p:cNvSpPr/>
                <p:nvPr/>
              </p:nvSpPr>
              <p:spPr>
                <a:xfrm>
                  <a:off x="6008567" y="5167252"/>
                  <a:ext cx="1070701" cy="1017453"/>
                </a:xfrm>
                <a:prstGeom prst="diamond">
                  <a:avLst/>
                </a:prstGeom>
                <a:blipFill rotWithShape="1">
                  <a:blip r:embed="rId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214" name="Diamond 29"/>
                <p:cNvSpPr/>
                <p:nvPr/>
              </p:nvSpPr>
              <p:spPr>
                <a:xfrm>
                  <a:off x="334655" y="1785752"/>
                  <a:ext cx="696633" cy="661990"/>
                </a:xfrm>
                <a:prstGeom prst="diamond">
                  <a:avLst/>
                </a:prstGeom>
                <a:blipFill rotWithShape="1">
                  <a:blip r:embed="rId5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215" name="Diamond 30"/>
                <p:cNvSpPr/>
                <p:nvPr/>
              </p:nvSpPr>
              <p:spPr>
                <a:xfrm>
                  <a:off x="2488492" y="184386"/>
                  <a:ext cx="498713" cy="473912"/>
                </a:xfrm>
                <a:prstGeom prst="diamond">
                  <a:avLst/>
                </a:prstGeom>
                <a:blipFill rotWithShape="1">
                  <a:blip r:embed="rId6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216" name="Diamond 31"/>
                <p:cNvSpPr/>
                <p:nvPr/>
              </p:nvSpPr>
              <p:spPr>
                <a:xfrm>
                  <a:off x="2270160" y="0"/>
                  <a:ext cx="378833" cy="378811"/>
                </a:xfrm>
                <a:prstGeom prst="diamond">
                  <a:avLst/>
                </a:prstGeom>
                <a:solidFill>
                  <a:srgbClr val="D9D9D9">
                    <a:alpha val="49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</p:grpSp>
          <p:sp>
            <p:nvSpPr>
              <p:cNvPr id="218" name="Diamond 20"/>
              <p:cNvSpPr/>
              <p:nvPr/>
            </p:nvSpPr>
            <p:spPr>
              <a:xfrm>
                <a:off x="1470878" y="1982076"/>
                <a:ext cx="378833" cy="378811"/>
              </a:xfrm>
              <a:prstGeom prst="diamond">
                <a:avLst/>
              </a:prstGeom>
              <a:solidFill>
                <a:srgbClr val="C3D69B">
                  <a:alpha val="49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</p:grpSp>
        <p:sp>
          <p:nvSpPr>
            <p:cNvPr id="220" name="Diamond 36"/>
            <p:cNvSpPr/>
            <p:nvPr/>
          </p:nvSpPr>
          <p:spPr>
            <a:xfrm>
              <a:off x="4444323" y="3148129"/>
              <a:ext cx="2245100" cy="2244968"/>
            </a:xfrm>
            <a:prstGeom prst="diamond">
              <a:avLst/>
            </a:prstGeom>
            <a:solidFill>
              <a:srgbClr val="FFFFFF">
                <a:alpha val="52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TH SarabunPSK"/>
                  <a:ea typeface="TH SarabunPSK"/>
                  <a:cs typeface="TH SarabunPSK"/>
                  <a:sym typeface="TH SarabunPSK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endParaRPr>
            </a:p>
          </p:txBody>
        </p:sp>
      </p:grpSp>
      <p:pic>
        <p:nvPicPr>
          <p:cNvPr id="222" name="Picture 9" descr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894" y="116632"/>
            <a:ext cx="4075231" cy="1136709"/>
          </a:xfrm>
          <a:prstGeom prst="rect">
            <a:avLst/>
          </a:prstGeom>
          <a:ln w="12700">
            <a:miter lim="400000"/>
          </a:ln>
        </p:spPr>
      </p:pic>
      <p:sp>
        <p:nvSpPr>
          <p:cNvPr id="22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419600" y="6172200"/>
            <a:ext cx="2133600" cy="36830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74098761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8420" y="6453472"/>
            <a:ext cx="514268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l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231" name="Diamond 40"/>
          <p:cNvSpPr/>
          <p:nvPr/>
        </p:nvSpPr>
        <p:spPr>
          <a:xfrm>
            <a:off x="484379" y="3521500"/>
            <a:ext cx="3135826" cy="3135640"/>
          </a:xfrm>
          <a:prstGeom prst="diamond">
            <a:avLst/>
          </a:prstGeom>
          <a:solidFill>
            <a:srgbClr val="FDEADA">
              <a:alpha val="45000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232" name="Diamond 39"/>
          <p:cNvSpPr/>
          <p:nvPr/>
        </p:nvSpPr>
        <p:spPr>
          <a:xfrm>
            <a:off x="516420" y="360694"/>
            <a:ext cx="6309038" cy="6308666"/>
          </a:xfrm>
          <a:prstGeom prst="diamond">
            <a:avLst/>
          </a:prstGeom>
          <a:solidFill>
            <a:schemeClr val="accent6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233" name="Diamond 35"/>
          <p:cNvSpPr/>
          <p:nvPr/>
        </p:nvSpPr>
        <p:spPr>
          <a:xfrm>
            <a:off x="5257544" y="1552646"/>
            <a:ext cx="3490921" cy="3490713"/>
          </a:xfrm>
          <a:prstGeom prst="diamond">
            <a:avLst/>
          </a:prstGeom>
          <a:solidFill>
            <a:srgbClr val="EBF1DE">
              <a:alpha val="64999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234" name="Diamond 25"/>
          <p:cNvSpPr/>
          <p:nvPr/>
        </p:nvSpPr>
        <p:spPr>
          <a:xfrm>
            <a:off x="377938" y="427126"/>
            <a:ext cx="1738712" cy="1738609"/>
          </a:xfrm>
          <a:prstGeom prst="diamond">
            <a:avLst/>
          </a:prstGeom>
          <a:solidFill>
            <a:srgbClr val="D9D9D9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235" name="Diamond 36"/>
          <p:cNvSpPr/>
          <p:nvPr/>
        </p:nvSpPr>
        <p:spPr>
          <a:xfrm>
            <a:off x="4757906" y="3390868"/>
            <a:ext cx="2245100" cy="2244968"/>
          </a:xfrm>
          <a:prstGeom prst="diamond">
            <a:avLst/>
          </a:prstGeom>
          <a:solidFill>
            <a:srgbClr val="FFFFFF">
              <a:alpha val="52000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pic>
        <p:nvPicPr>
          <p:cNvPr id="236" name="Picture 9" descr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6901" y="108666"/>
            <a:ext cx="1807099" cy="5040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014537130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Title Text"/>
          <p:cNvSpPr txBox="1">
            <a:spLocks noGrp="1"/>
          </p:cNvSpPr>
          <p:nvPr>
            <p:ph type="title"/>
          </p:nvPr>
        </p:nvSpPr>
        <p:spPr>
          <a:xfrm>
            <a:off x="6630009" y="275355"/>
            <a:ext cx="2057198" cy="5850520"/>
          </a:xfrm>
          <a:prstGeom prst="rect">
            <a:avLst/>
          </a:prstGeom>
        </p:spPr>
        <p:txBody>
          <a:bodyPr lIns="46648" tIns="46648" rIns="46648" bIns="46648" anchor="ctr">
            <a:normAutofit/>
          </a:bodyPr>
          <a:lstStyle>
            <a:lvl1pPr algn="ctr" defTabSz="932962">
              <a:tabLst/>
              <a:defRPr sz="4500" b="0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r>
              <a:t>Title Text</a:t>
            </a:r>
          </a:p>
        </p:txBody>
      </p:sp>
      <p:sp>
        <p:nvSpPr>
          <p:cNvPr id="244" name="Body Level One…"/>
          <p:cNvSpPr txBox="1">
            <a:spLocks noGrp="1"/>
          </p:cNvSpPr>
          <p:nvPr>
            <p:ph type="body" idx="1"/>
          </p:nvPr>
        </p:nvSpPr>
        <p:spPr>
          <a:xfrm>
            <a:off x="456794" y="275355"/>
            <a:ext cx="6017709" cy="5850520"/>
          </a:xfrm>
          <a:prstGeom prst="rect">
            <a:avLst/>
          </a:prstGeom>
        </p:spPr>
        <p:txBody>
          <a:bodyPr lIns="46648" tIns="46648" rIns="46648" bIns="46648">
            <a:normAutofit/>
          </a:bodyPr>
          <a:lstStyle>
            <a:lvl1pPr marL="349861" indent="-349861" defTabSz="932962">
              <a:spcBef>
                <a:spcPts val="700"/>
              </a:spcBef>
              <a:buClrTx/>
              <a:buFont typeface="Arial"/>
              <a:defRPr sz="3300">
                <a:latin typeface="TH SarabunPSK"/>
                <a:ea typeface="TH SarabunPSK"/>
                <a:cs typeface="TH SarabunPSK"/>
                <a:sym typeface="TH SarabunPSK"/>
              </a:defRPr>
            </a:lvl1pPr>
            <a:lvl2pPr marL="798245" indent="-331764" defTabSz="932962">
              <a:spcBef>
                <a:spcPts val="700"/>
              </a:spcBef>
              <a:buClrTx/>
              <a:buSzPct val="100000"/>
              <a:buFont typeface="Arial"/>
              <a:buChar char="–"/>
              <a:defRPr sz="3300">
                <a:latin typeface="TH SarabunPSK"/>
                <a:ea typeface="TH SarabunPSK"/>
                <a:cs typeface="TH SarabunPSK"/>
                <a:sym typeface="TH SarabunPSK"/>
              </a:defRPr>
            </a:lvl2pPr>
            <a:lvl3pPr marL="1253668" indent="-320706" defTabSz="932962">
              <a:spcBef>
                <a:spcPts val="700"/>
              </a:spcBef>
              <a:buClrTx/>
              <a:buSzPct val="100000"/>
              <a:buFont typeface="Arial"/>
              <a:buChar char="•"/>
              <a:defRPr sz="3300">
                <a:latin typeface="TH SarabunPSK"/>
                <a:ea typeface="TH SarabunPSK"/>
                <a:cs typeface="TH SarabunPSK"/>
                <a:sym typeface="TH SarabunPSK"/>
              </a:defRPr>
            </a:lvl3pPr>
            <a:lvl4pPr marL="1784290" indent="-384847" defTabSz="932962">
              <a:spcBef>
                <a:spcPts val="700"/>
              </a:spcBef>
              <a:buClrTx/>
              <a:buSzPct val="100000"/>
              <a:buFont typeface="Arial"/>
              <a:buChar char="–"/>
              <a:defRPr sz="3300">
                <a:latin typeface="TH SarabunPSK"/>
                <a:ea typeface="TH SarabunPSK"/>
                <a:cs typeface="TH SarabunPSK"/>
                <a:sym typeface="TH SarabunPSK"/>
              </a:defRPr>
            </a:lvl4pPr>
            <a:lvl5pPr marL="2250771" indent="-384847" defTabSz="932962">
              <a:spcBef>
                <a:spcPts val="700"/>
              </a:spcBef>
              <a:buClrTx/>
              <a:buSzPct val="100000"/>
              <a:buFont typeface="Arial"/>
              <a:buChar char="»"/>
              <a:defRPr sz="3300">
                <a:latin typeface="TH SarabunPSK"/>
                <a:ea typeface="TH SarabunPSK"/>
                <a:cs typeface="TH SarabunPSK"/>
                <a:sym typeface="TH SarabunPSK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4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8420" y="6453472"/>
            <a:ext cx="514268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l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</p:spTree>
    <p:extLst>
      <p:ext uri="{BB962C8B-B14F-4D97-AF65-F5344CB8AC3E}">
        <p14:creationId xmlns:p14="http://schemas.microsoft.com/office/powerpoint/2010/main" val="2931447103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Title Text"/>
          <p:cNvSpPr txBox="1">
            <a:spLocks noGrp="1"/>
          </p:cNvSpPr>
          <p:nvPr>
            <p:ph type="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5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0" indent="0" algn="ctr" defTabSz="914400">
              <a:spcBef>
                <a:spcPts val="700"/>
              </a:spcBef>
              <a:buClrTx/>
              <a:buSzTx/>
              <a:buNone/>
              <a:defRPr sz="3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  <a:lvl2pPr marL="0" indent="457200" algn="ctr" defTabSz="914400">
              <a:spcBef>
                <a:spcPts val="700"/>
              </a:spcBef>
              <a:buClrTx/>
              <a:buSzTx/>
              <a:buNone/>
              <a:defRPr sz="3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2pPr>
            <a:lvl3pPr marL="0" indent="914400" algn="ctr" defTabSz="914400">
              <a:spcBef>
                <a:spcPts val="700"/>
              </a:spcBef>
              <a:buClrTx/>
              <a:buSzTx/>
              <a:buNone/>
              <a:defRPr sz="3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3pPr>
            <a:lvl4pPr marL="0" indent="1371600" algn="ctr" defTabSz="914400">
              <a:spcBef>
                <a:spcPts val="700"/>
              </a:spcBef>
              <a:buClrTx/>
              <a:buSzTx/>
              <a:buNone/>
              <a:defRPr sz="3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4pPr>
            <a:lvl5pPr marL="0" indent="1828800" algn="ctr" defTabSz="914400">
              <a:spcBef>
                <a:spcPts val="700"/>
              </a:spcBef>
              <a:buClrTx/>
              <a:buSzTx/>
              <a:buNone/>
              <a:defRPr sz="3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5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2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12571461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Title Text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1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62" name="Body Level One…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342900" indent="-342900" defTabSz="914400">
              <a:spcBef>
                <a:spcPts val="700"/>
              </a:spcBef>
              <a:buClrTx/>
              <a:buFont typeface="Arial"/>
              <a:defRPr sz="3200">
                <a:latin typeface="+mj-lt"/>
                <a:ea typeface="+mj-ea"/>
                <a:cs typeface="+mj-cs"/>
                <a:sym typeface="Calibri"/>
              </a:defRPr>
            </a:lvl1pPr>
            <a:lvl2pPr marL="783771" indent="-326571" defTabSz="914400">
              <a:spcBef>
                <a:spcPts val="700"/>
              </a:spcBef>
              <a:buClrTx/>
              <a:buSzPct val="100000"/>
              <a:buFont typeface="Arial"/>
              <a:buChar char="–"/>
              <a:defRPr sz="3200">
                <a:latin typeface="+mj-lt"/>
                <a:ea typeface="+mj-ea"/>
                <a:cs typeface="+mj-cs"/>
                <a:sym typeface="Calibri"/>
              </a:defRPr>
            </a:lvl2pPr>
            <a:lvl3pPr marL="1219200" indent="-304800" defTabSz="914400"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latin typeface="+mj-lt"/>
                <a:ea typeface="+mj-ea"/>
                <a:cs typeface="+mj-cs"/>
                <a:sym typeface="Calibri"/>
              </a:defRPr>
            </a:lvl3pPr>
            <a:lvl4pPr marL="1737360" indent="-365760" defTabSz="914400">
              <a:spcBef>
                <a:spcPts val="700"/>
              </a:spcBef>
              <a:buClrTx/>
              <a:buSzPct val="100000"/>
              <a:buFont typeface="Arial"/>
              <a:buChar char="–"/>
              <a:defRPr sz="3200">
                <a:latin typeface="+mj-lt"/>
                <a:ea typeface="+mj-ea"/>
                <a:cs typeface="+mj-cs"/>
                <a:sym typeface="Calibri"/>
              </a:defRPr>
            </a:lvl4pPr>
            <a:lvl5pPr marL="2194560" indent="-365760" defTabSz="914400">
              <a:spcBef>
                <a:spcPts val="700"/>
              </a:spcBef>
              <a:buClrTx/>
              <a:buSzPct val="100000"/>
              <a:buFont typeface="Arial"/>
              <a:buChar char="»"/>
              <a:defRPr sz="3200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6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1072" y="6456359"/>
            <a:ext cx="513491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ctr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</p:spTree>
    <p:extLst>
      <p:ext uri="{BB962C8B-B14F-4D97-AF65-F5344CB8AC3E}">
        <p14:creationId xmlns:p14="http://schemas.microsoft.com/office/powerpoint/2010/main" val="164751094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" name="Title Text"/>
          <p:cNvSpPr txBox="1">
            <a:spLocks noGrp="1"/>
          </p:cNvSpPr>
          <p:nvPr>
            <p:ph type="title"/>
          </p:nvPr>
        </p:nvSpPr>
        <p:spPr>
          <a:xfrm>
            <a:off x="722312" y="4406900"/>
            <a:ext cx="7772401" cy="1362075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defTabSz="914400">
              <a:tabLst/>
              <a:defRPr sz="4000" cap="all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71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722312" y="2906713"/>
            <a:ext cx="7772401" cy="1500188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>
            <a:lvl1pPr marL="0" indent="0" defTabSz="914400">
              <a:spcBef>
                <a:spcPts val="400"/>
              </a:spcBef>
              <a:buClrTx/>
              <a:buSzTx/>
              <a:buNone/>
              <a:defRPr sz="20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  <a:lvl2pPr marL="0" indent="457200" defTabSz="914400">
              <a:spcBef>
                <a:spcPts val="400"/>
              </a:spcBef>
              <a:buClrTx/>
              <a:buSzTx/>
              <a:buNone/>
              <a:defRPr sz="20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2pPr>
            <a:lvl3pPr marL="0" indent="914400" defTabSz="914400">
              <a:spcBef>
                <a:spcPts val="400"/>
              </a:spcBef>
              <a:buClrTx/>
              <a:buSzTx/>
              <a:buNone/>
              <a:defRPr sz="20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3pPr>
            <a:lvl4pPr marL="0" indent="1371600" defTabSz="914400">
              <a:spcBef>
                <a:spcPts val="400"/>
              </a:spcBef>
              <a:buClrTx/>
              <a:buSzTx/>
              <a:buNone/>
              <a:defRPr sz="20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4pPr>
            <a:lvl5pPr marL="0" indent="1828800" defTabSz="914400">
              <a:spcBef>
                <a:spcPts val="400"/>
              </a:spcBef>
              <a:buClrTx/>
              <a:buSzTx/>
              <a:buNone/>
              <a:defRPr sz="20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7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2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54967834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Title Text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1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80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342900" indent="-342900" defTabSz="914400">
              <a:spcBef>
                <a:spcPts val="600"/>
              </a:spcBef>
              <a:buClrTx/>
              <a:buFont typeface="Arial"/>
              <a:defRPr sz="2800">
                <a:latin typeface="+mj-lt"/>
                <a:ea typeface="+mj-ea"/>
                <a:cs typeface="+mj-cs"/>
                <a:sym typeface="Calibri"/>
              </a:defRPr>
            </a:lvl1pPr>
            <a:lvl2pPr marL="790575" indent="-333375" defTabSz="914400">
              <a:spcBef>
                <a:spcPts val="600"/>
              </a:spcBef>
              <a:buClrTx/>
              <a:buSzPct val="100000"/>
              <a:buFont typeface="Arial"/>
              <a:buChar char="–"/>
              <a:defRPr sz="2800">
                <a:latin typeface="+mj-lt"/>
                <a:ea typeface="+mj-ea"/>
                <a:cs typeface="+mj-cs"/>
                <a:sym typeface="Calibri"/>
              </a:defRPr>
            </a:lvl2pPr>
            <a:lvl3pPr marL="1234439" indent="-320039" defTabSz="914400">
              <a:spcBef>
                <a:spcPts val="600"/>
              </a:spcBef>
              <a:buClrTx/>
              <a:buSzPct val="100000"/>
              <a:buFont typeface="Arial"/>
              <a:buChar char="•"/>
              <a:defRPr sz="2800">
                <a:latin typeface="+mj-lt"/>
                <a:ea typeface="+mj-ea"/>
                <a:cs typeface="+mj-cs"/>
                <a:sym typeface="Calibri"/>
              </a:defRPr>
            </a:lvl3pPr>
            <a:lvl4pPr marL="1727200" indent="-355600" defTabSz="914400">
              <a:spcBef>
                <a:spcPts val="600"/>
              </a:spcBef>
              <a:buClrTx/>
              <a:buSzPct val="100000"/>
              <a:buFont typeface="Arial"/>
              <a:buChar char="–"/>
              <a:defRPr sz="2800">
                <a:latin typeface="+mj-lt"/>
                <a:ea typeface="+mj-ea"/>
                <a:cs typeface="+mj-cs"/>
                <a:sym typeface="Calibri"/>
              </a:defRPr>
            </a:lvl4pPr>
            <a:lvl5pPr marL="2184400" indent="-355600" defTabSz="914400">
              <a:spcBef>
                <a:spcPts val="600"/>
              </a:spcBef>
              <a:buClrTx/>
              <a:buSzPct val="100000"/>
              <a:buFont typeface="Arial"/>
              <a:buChar char="»"/>
              <a:defRPr sz="2800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8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2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32626229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0" name="Title Text"/>
          <p:cNvSpPr txBox="1">
            <a:spLocks noGrp="1"/>
          </p:cNvSpPr>
          <p:nvPr>
            <p:ph type="title"/>
          </p:nvPr>
        </p:nvSpPr>
        <p:spPr>
          <a:xfrm>
            <a:off x="213818" y="234864"/>
            <a:ext cx="8794116" cy="29803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val="2974793216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Title Text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1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8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>
            <a:lvl1pPr marL="0" indent="0" defTabSz="914400">
              <a:spcBef>
                <a:spcPts val="500"/>
              </a:spcBef>
              <a:buClrTx/>
              <a:buSzTx/>
              <a:buNone/>
              <a:defRPr sz="2400" b="1">
                <a:latin typeface="+mj-lt"/>
                <a:ea typeface="+mj-ea"/>
                <a:cs typeface="+mj-cs"/>
                <a:sym typeface="Calibri"/>
              </a:defRPr>
            </a:lvl1pPr>
            <a:lvl2pPr marL="0" indent="457200" defTabSz="914400">
              <a:spcBef>
                <a:spcPts val="500"/>
              </a:spcBef>
              <a:buClrTx/>
              <a:buSzTx/>
              <a:buNone/>
              <a:defRPr sz="2400" b="1">
                <a:latin typeface="+mj-lt"/>
                <a:ea typeface="+mj-ea"/>
                <a:cs typeface="+mj-cs"/>
                <a:sym typeface="Calibri"/>
              </a:defRPr>
            </a:lvl2pPr>
            <a:lvl3pPr marL="0" indent="914400" defTabSz="914400">
              <a:spcBef>
                <a:spcPts val="500"/>
              </a:spcBef>
              <a:buClrTx/>
              <a:buSzTx/>
              <a:buNone/>
              <a:defRPr sz="2400" b="1">
                <a:latin typeface="+mj-lt"/>
                <a:ea typeface="+mj-ea"/>
                <a:cs typeface="+mj-cs"/>
                <a:sym typeface="Calibri"/>
              </a:defRPr>
            </a:lvl3pPr>
            <a:lvl4pPr marL="0" indent="1371600" defTabSz="914400">
              <a:spcBef>
                <a:spcPts val="500"/>
              </a:spcBef>
              <a:buClrTx/>
              <a:buSzTx/>
              <a:buNone/>
              <a:defRPr sz="2400" b="1">
                <a:latin typeface="+mj-lt"/>
                <a:ea typeface="+mj-ea"/>
                <a:cs typeface="+mj-cs"/>
                <a:sym typeface="Calibri"/>
              </a:defRPr>
            </a:lvl4pPr>
            <a:lvl5pPr marL="0" indent="1828800" defTabSz="914400">
              <a:spcBef>
                <a:spcPts val="500"/>
              </a:spcBef>
              <a:buClrTx/>
              <a:buSzTx/>
              <a:buNone/>
              <a:defRPr sz="2400" b="1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9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45025" y="1535112"/>
            <a:ext cx="4041775" cy="639763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/>
          <a:p>
            <a:pPr marL="0" indent="0" defTabSz="914400">
              <a:spcBef>
                <a:spcPts val="500"/>
              </a:spcBef>
              <a:buClrTx/>
              <a:buSzTx/>
              <a:buNone/>
              <a:defRPr sz="2400" b="1">
                <a:latin typeface="+mj-lt"/>
                <a:ea typeface="+mj-ea"/>
                <a:cs typeface="+mj-cs"/>
                <a:sym typeface="Calibri"/>
              </a:defRPr>
            </a:pPr>
            <a:endParaRPr/>
          </a:p>
        </p:txBody>
      </p:sp>
      <p:sp>
        <p:nvSpPr>
          <p:cNvPr id="29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2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74852561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" name="Title Text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1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29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2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39815299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2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83043252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Title Text"/>
          <p:cNvSpPr txBox="1">
            <a:spLocks noGrp="1"/>
          </p:cNvSpPr>
          <p:nvPr>
            <p:ph type="title"/>
          </p:nvPr>
        </p:nvSpPr>
        <p:spPr>
          <a:xfrm>
            <a:off x="457200" y="273050"/>
            <a:ext cx="3008314" cy="1162050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>
            <a:lvl1pPr defTabSz="914400">
              <a:tabLst/>
              <a:defRPr sz="200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314" name="Body Level One…"/>
          <p:cNvSpPr txBox="1">
            <a:spLocks noGrp="1"/>
          </p:cNvSpPr>
          <p:nvPr>
            <p:ph type="body"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342900" indent="-342900" defTabSz="914400">
              <a:spcBef>
                <a:spcPts val="700"/>
              </a:spcBef>
              <a:buClrTx/>
              <a:buFont typeface="Arial"/>
              <a:defRPr sz="3200">
                <a:latin typeface="+mj-lt"/>
                <a:ea typeface="+mj-ea"/>
                <a:cs typeface="+mj-cs"/>
                <a:sym typeface="Calibri"/>
              </a:defRPr>
            </a:lvl1pPr>
            <a:lvl2pPr marL="783771" indent="-326571" defTabSz="914400">
              <a:spcBef>
                <a:spcPts val="700"/>
              </a:spcBef>
              <a:buClrTx/>
              <a:buSzPct val="100000"/>
              <a:buFont typeface="Arial"/>
              <a:buChar char="–"/>
              <a:defRPr sz="3200">
                <a:latin typeface="+mj-lt"/>
                <a:ea typeface="+mj-ea"/>
                <a:cs typeface="+mj-cs"/>
                <a:sym typeface="Calibri"/>
              </a:defRPr>
            </a:lvl2pPr>
            <a:lvl3pPr marL="1219200" indent="-304800" defTabSz="914400"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latin typeface="+mj-lt"/>
                <a:ea typeface="+mj-ea"/>
                <a:cs typeface="+mj-cs"/>
                <a:sym typeface="Calibri"/>
              </a:defRPr>
            </a:lvl3pPr>
            <a:lvl4pPr marL="1737360" indent="-365760" defTabSz="914400">
              <a:spcBef>
                <a:spcPts val="700"/>
              </a:spcBef>
              <a:buClrTx/>
              <a:buSzPct val="100000"/>
              <a:buFont typeface="Arial"/>
              <a:buChar char="–"/>
              <a:defRPr sz="3200">
                <a:latin typeface="+mj-lt"/>
                <a:ea typeface="+mj-ea"/>
                <a:cs typeface="+mj-cs"/>
                <a:sym typeface="Calibri"/>
              </a:defRPr>
            </a:lvl4pPr>
            <a:lvl5pPr marL="2194560" indent="-365760" defTabSz="914400">
              <a:spcBef>
                <a:spcPts val="700"/>
              </a:spcBef>
              <a:buClrTx/>
              <a:buSzPct val="100000"/>
              <a:buFont typeface="Arial"/>
              <a:buChar char="»"/>
              <a:defRPr sz="3200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15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199" y="1435100"/>
            <a:ext cx="3008315" cy="4691063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/>
          <a:p>
            <a:pPr marL="0" indent="0" defTabSz="914400">
              <a:spcBef>
                <a:spcPts val="300"/>
              </a:spcBef>
              <a:buClrTx/>
              <a:buSzTx/>
              <a:buNone/>
              <a:defRPr sz="1400">
                <a:latin typeface="+mj-lt"/>
                <a:ea typeface="+mj-ea"/>
                <a:cs typeface="+mj-cs"/>
                <a:sym typeface="Calibri"/>
              </a:defRPr>
            </a:pPr>
            <a:endParaRPr/>
          </a:p>
        </p:txBody>
      </p:sp>
      <p:sp>
        <p:nvSpPr>
          <p:cNvPr id="31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2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94186950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3" name="Title Text"/>
          <p:cNvSpPr txBox="1">
            <a:spLocks noGrp="1"/>
          </p:cNvSpPr>
          <p:nvPr>
            <p:ph type="title"/>
          </p:nvPr>
        </p:nvSpPr>
        <p:spPr>
          <a:xfrm>
            <a:off x="1792288" y="4800600"/>
            <a:ext cx="5486401" cy="566738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>
            <a:lvl1pPr defTabSz="914400">
              <a:tabLst/>
              <a:defRPr sz="200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324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1792288" y="612775"/>
            <a:ext cx="5486401" cy="41148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2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792288" y="5367337"/>
            <a:ext cx="5486401" cy="804863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0" indent="0" defTabSz="914400">
              <a:spcBef>
                <a:spcPts val="300"/>
              </a:spcBef>
              <a:buClrTx/>
              <a:buSzTx/>
              <a:buNone/>
              <a:defRPr sz="1400">
                <a:latin typeface="+mj-lt"/>
                <a:ea typeface="+mj-ea"/>
                <a:cs typeface="+mj-cs"/>
                <a:sym typeface="Calibri"/>
              </a:defRPr>
            </a:lvl1pPr>
            <a:lvl2pPr marL="0" indent="457200" defTabSz="914400">
              <a:spcBef>
                <a:spcPts val="300"/>
              </a:spcBef>
              <a:buClrTx/>
              <a:buSzTx/>
              <a:buNone/>
              <a:defRPr sz="1400">
                <a:latin typeface="+mj-lt"/>
                <a:ea typeface="+mj-ea"/>
                <a:cs typeface="+mj-cs"/>
                <a:sym typeface="Calibri"/>
              </a:defRPr>
            </a:lvl2pPr>
            <a:lvl3pPr marL="0" indent="914400" defTabSz="914400">
              <a:spcBef>
                <a:spcPts val="300"/>
              </a:spcBef>
              <a:buClrTx/>
              <a:buSzTx/>
              <a:buNone/>
              <a:defRPr sz="1400">
                <a:latin typeface="+mj-lt"/>
                <a:ea typeface="+mj-ea"/>
                <a:cs typeface="+mj-cs"/>
                <a:sym typeface="Calibri"/>
              </a:defRPr>
            </a:lvl3pPr>
            <a:lvl4pPr marL="0" indent="1371600" defTabSz="914400">
              <a:spcBef>
                <a:spcPts val="300"/>
              </a:spcBef>
              <a:buClrTx/>
              <a:buSzTx/>
              <a:buNone/>
              <a:defRPr sz="1400">
                <a:latin typeface="+mj-lt"/>
                <a:ea typeface="+mj-ea"/>
                <a:cs typeface="+mj-cs"/>
                <a:sym typeface="Calibri"/>
              </a:defRPr>
            </a:lvl4pPr>
            <a:lvl5pPr marL="0" indent="1828800" defTabSz="914400">
              <a:spcBef>
                <a:spcPts val="300"/>
              </a:spcBef>
              <a:buClrTx/>
              <a:buSzTx/>
              <a:buNone/>
              <a:defRPr sz="1400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2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2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54543096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Title Text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1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334" name="Body Level One…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342900" indent="-342900" defTabSz="914400">
              <a:spcBef>
                <a:spcPts val="700"/>
              </a:spcBef>
              <a:buClrTx/>
              <a:buFont typeface="Arial"/>
              <a:defRPr sz="3200">
                <a:latin typeface="+mj-lt"/>
                <a:ea typeface="+mj-ea"/>
                <a:cs typeface="+mj-cs"/>
                <a:sym typeface="Calibri"/>
              </a:defRPr>
            </a:lvl1pPr>
            <a:lvl2pPr marL="783771" indent="-326571" defTabSz="914400">
              <a:spcBef>
                <a:spcPts val="700"/>
              </a:spcBef>
              <a:buClrTx/>
              <a:buSzPct val="100000"/>
              <a:buFont typeface="Arial"/>
              <a:buChar char="–"/>
              <a:defRPr sz="3200">
                <a:latin typeface="+mj-lt"/>
                <a:ea typeface="+mj-ea"/>
                <a:cs typeface="+mj-cs"/>
                <a:sym typeface="Calibri"/>
              </a:defRPr>
            </a:lvl2pPr>
            <a:lvl3pPr marL="1219200" indent="-304800" defTabSz="914400"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latin typeface="+mj-lt"/>
                <a:ea typeface="+mj-ea"/>
                <a:cs typeface="+mj-cs"/>
                <a:sym typeface="Calibri"/>
              </a:defRPr>
            </a:lvl3pPr>
            <a:lvl4pPr marL="1737360" indent="-365760" defTabSz="914400">
              <a:spcBef>
                <a:spcPts val="700"/>
              </a:spcBef>
              <a:buClrTx/>
              <a:buSzPct val="100000"/>
              <a:buFont typeface="Arial"/>
              <a:buChar char="–"/>
              <a:defRPr sz="3200">
                <a:latin typeface="+mj-lt"/>
                <a:ea typeface="+mj-ea"/>
                <a:cs typeface="+mj-cs"/>
                <a:sym typeface="Calibri"/>
              </a:defRPr>
            </a:lvl4pPr>
            <a:lvl5pPr marL="2194560" indent="-365760" defTabSz="914400">
              <a:spcBef>
                <a:spcPts val="700"/>
              </a:spcBef>
              <a:buClrTx/>
              <a:buSzPct val="100000"/>
              <a:buFont typeface="Arial"/>
              <a:buChar char="»"/>
              <a:defRPr sz="3200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3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2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50984172"/>
      </p:ext>
    </p:extLst>
  </p:cSld>
  <p:clrMapOvr>
    <a:masterClrMapping/>
  </p:clrMapOvr>
  <p:transition spd="med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2" name="Title Text"/>
          <p:cNvSpPr txBox="1">
            <a:spLocks noGrp="1"/>
          </p:cNvSpPr>
          <p:nvPr>
            <p:ph type="title"/>
          </p:nvPr>
        </p:nvSpPr>
        <p:spPr>
          <a:xfrm>
            <a:off x="6629400" y="274638"/>
            <a:ext cx="2057400" cy="5851526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343" name="Body Level One…"/>
          <p:cNvSpPr txBox="1">
            <a:spLocks noGrp="1"/>
          </p:cNvSpPr>
          <p:nvPr>
            <p:ph type="body" idx="1"/>
          </p:nvPr>
        </p:nvSpPr>
        <p:spPr>
          <a:xfrm>
            <a:off x="457200" y="274638"/>
            <a:ext cx="6019800" cy="5851526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342900" indent="-342900" defTabSz="914400">
              <a:spcBef>
                <a:spcPts val="700"/>
              </a:spcBef>
              <a:buClrTx/>
              <a:buFont typeface="Arial"/>
              <a:defRPr sz="3200">
                <a:latin typeface="+mj-lt"/>
                <a:ea typeface="+mj-ea"/>
                <a:cs typeface="+mj-cs"/>
                <a:sym typeface="Calibri"/>
              </a:defRPr>
            </a:lvl1pPr>
            <a:lvl2pPr marL="783771" indent="-326571" defTabSz="914400">
              <a:spcBef>
                <a:spcPts val="700"/>
              </a:spcBef>
              <a:buClrTx/>
              <a:buSzPct val="100000"/>
              <a:buFont typeface="Arial"/>
              <a:buChar char="–"/>
              <a:defRPr sz="3200">
                <a:latin typeface="+mj-lt"/>
                <a:ea typeface="+mj-ea"/>
                <a:cs typeface="+mj-cs"/>
                <a:sym typeface="Calibri"/>
              </a:defRPr>
            </a:lvl2pPr>
            <a:lvl3pPr marL="1219200" indent="-304800" defTabSz="914400"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latin typeface="+mj-lt"/>
                <a:ea typeface="+mj-ea"/>
                <a:cs typeface="+mj-cs"/>
                <a:sym typeface="Calibri"/>
              </a:defRPr>
            </a:lvl3pPr>
            <a:lvl4pPr marL="1737360" indent="-365760" defTabSz="914400">
              <a:spcBef>
                <a:spcPts val="700"/>
              </a:spcBef>
              <a:buClrTx/>
              <a:buSzPct val="100000"/>
              <a:buFont typeface="Arial"/>
              <a:buChar char="–"/>
              <a:defRPr sz="3200">
                <a:latin typeface="+mj-lt"/>
                <a:ea typeface="+mj-ea"/>
                <a:cs typeface="+mj-cs"/>
                <a:sym typeface="Calibri"/>
              </a:defRPr>
            </a:lvl4pPr>
            <a:lvl5pPr marL="2194560" indent="-365760" defTabSz="914400">
              <a:spcBef>
                <a:spcPts val="700"/>
              </a:spcBef>
              <a:buClrTx/>
              <a:buSzPct val="100000"/>
              <a:buFont typeface="Arial"/>
              <a:buChar char="»"/>
              <a:defRPr sz="3200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34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2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74947343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735933" y="6570980"/>
            <a:ext cx="282734" cy="269240"/>
          </a:xfrm>
          <a:prstGeom prst="rect">
            <a:avLst/>
          </a:prstGeom>
        </p:spPr>
        <p:txBody>
          <a:bodyPr lIns="45719" tIns="45719" rIns="45719" bIns="45719" anchor="ctr"/>
          <a:lstStyle>
            <a:lvl1pPr algn="ctr">
              <a:defRPr sz="1200" b="1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1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203144867"/>
      </p:ext>
    </p:extLst>
  </p:cSld>
  <p:clrMapOvr>
    <a:masterClrMapping/>
  </p:clrMapOvr>
  <p:transition spd="med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" name="Rectangle 7"/>
          <p:cNvSpPr/>
          <p:nvPr/>
        </p:nvSpPr>
        <p:spPr>
          <a:xfrm>
            <a:off x="8163255" y="4"/>
            <a:ext cx="197769" cy="980723"/>
          </a:xfrm>
          <a:prstGeom prst="rect">
            <a:avLst/>
          </a:prstGeom>
          <a:solidFill>
            <a:schemeClr val="accent6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59" name="Rectangle 8"/>
          <p:cNvSpPr/>
          <p:nvPr/>
        </p:nvSpPr>
        <p:spPr>
          <a:xfrm>
            <a:off x="7939231" y="4"/>
            <a:ext cx="197769" cy="980723"/>
          </a:xfrm>
          <a:prstGeom prst="rect">
            <a:avLst/>
          </a:prstGeom>
          <a:solidFill>
            <a:srgbClr val="9BBB59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60" name="Rectangle 6"/>
          <p:cNvSpPr/>
          <p:nvPr/>
        </p:nvSpPr>
        <p:spPr>
          <a:xfrm>
            <a:off x="8388423" y="4"/>
            <a:ext cx="755577" cy="980723"/>
          </a:xfrm>
          <a:prstGeom prst="rect">
            <a:avLst/>
          </a:prstGeom>
          <a:solidFill>
            <a:srgbClr val="006600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61" name="Title Text"/>
          <p:cNvSpPr txBox="1">
            <a:spLocks noGrp="1"/>
          </p:cNvSpPr>
          <p:nvPr>
            <p:ph type="title"/>
          </p:nvPr>
        </p:nvSpPr>
        <p:spPr>
          <a:xfrm>
            <a:off x="0" y="0"/>
            <a:ext cx="7939232" cy="932337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indent="180975" algn="ctr" defTabSz="914400">
              <a:tabLst/>
              <a:defRPr sz="4400" b="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36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25616" y="4826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 algn="ctr"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66242543"/>
      </p:ext>
    </p:extLst>
  </p:cSld>
  <p:clrMapOvr>
    <a:masterClrMapping/>
  </p:clrMapOvr>
  <p:transition spd="med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Straight Connector 11"/>
          <p:cNvSpPr/>
          <p:nvPr/>
        </p:nvSpPr>
        <p:spPr>
          <a:xfrm flipV="1">
            <a:off x="2390885" y="6792367"/>
            <a:ext cx="6722465" cy="17041"/>
          </a:xfrm>
          <a:prstGeom prst="line">
            <a:avLst/>
          </a:prstGeom>
          <a:ln w="57150">
            <a:solidFill>
              <a:srgbClr val="FF7A00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70" name="Straight Connector 12"/>
          <p:cNvSpPr/>
          <p:nvPr/>
        </p:nvSpPr>
        <p:spPr>
          <a:xfrm flipV="1">
            <a:off x="1225994" y="6738055"/>
            <a:ext cx="5047556" cy="9719"/>
          </a:xfrm>
          <a:prstGeom prst="line">
            <a:avLst/>
          </a:prstGeom>
          <a:ln w="38100">
            <a:solidFill>
              <a:srgbClr val="9BBB59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371" name="Picture 13" descr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524166"/>
            <a:ext cx="1196836" cy="333836"/>
          </a:xfrm>
          <a:prstGeom prst="rect">
            <a:avLst/>
          </a:prstGeom>
          <a:ln w="12700">
            <a:miter lim="400000"/>
          </a:ln>
        </p:spPr>
      </p:pic>
      <p:sp>
        <p:nvSpPr>
          <p:cNvPr id="372" name="Rectangle 5"/>
          <p:cNvSpPr/>
          <p:nvPr/>
        </p:nvSpPr>
        <p:spPr>
          <a:xfrm>
            <a:off x="0" y="0"/>
            <a:ext cx="9144000" cy="1268760"/>
          </a:xfrm>
          <a:prstGeom prst="rect">
            <a:avLst/>
          </a:prstGeom>
          <a:solidFill>
            <a:srgbClr val="FDEADA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7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419600" y="6172200"/>
            <a:ext cx="2133600" cy="36830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47202833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8" name="Title Text"/>
          <p:cNvSpPr txBox="1">
            <a:spLocks noGrp="1"/>
          </p:cNvSpPr>
          <p:nvPr>
            <p:ph type="title"/>
          </p:nvPr>
        </p:nvSpPr>
        <p:spPr>
          <a:xfrm>
            <a:off x="213818" y="234864"/>
            <a:ext cx="8794116" cy="298034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val="3398622109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0" name="Straight Connector 11"/>
          <p:cNvSpPr/>
          <p:nvPr/>
        </p:nvSpPr>
        <p:spPr>
          <a:xfrm flipV="1">
            <a:off x="2390885" y="6792367"/>
            <a:ext cx="6722465" cy="17041"/>
          </a:xfrm>
          <a:prstGeom prst="line">
            <a:avLst/>
          </a:prstGeom>
          <a:ln w="57150">
            <a:solidFill>
              <a:srgbClr val="FF7A00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81" name="Straight Connector 12"/>
          <p:cNvSpPr/>
          <p:nvPr/>
        </p:nvSpPr>
        <p:spPr>
          <a:xfrm flipV="1">
            <a:off x="1225994" y="6738055"/>
            <a:ext cx="5047556" cy="9719"/>
          </a:xfrm>
          <a:prstGeom prst="line">
            <a:avLst/>
          </a:prstGeom>
          <a:ln w="38100">
            <a:solidFill>
              <a:srgbClr val="9BBB59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382" name="Picture 13" descr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524166"/>
            <a:ext cx="1196836" cy="333836"/>
          </a:xfrm>
          <a:prstGeom prst="rect">
            <a:avLst/>
          </a:prstGeom>
          <a:ln w="12700">
            <a:miter lim="400000"/>
          </a:ln>
        </p:spPr>
      </p:pic>
      <p:sp>
        <p:nvSpPr>
          <p:cNvPr id="383" name="Rectangle 5"/>
          <p:cNvSpPr/>
          <p:nvPr/>
        </p:nvSpPr>
        <p:spPr>
          <a:xfrm>
            <a:off x="0" y="0"/>
            <a:ext cx="9144000" cy="1268760"/>
          </a:xfrm>
          <a:prstGeom prst="rect">
            <a:avLst/>
          </a:prstGeom>
          <a:solidFill>
            <a:srgbClr val="FDEADA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+mj-lt"/>
                <a:ea typeface="+mj-ea"/>
                <a:cs typeface="+mj-cs"/>
                <a:sym typeface="Calibri"/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  <p:sp>
        <p:nvSpPr>
          <p:cNvPr id="38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7533729" y="6450012"/>
            <a:ext cx="172542" cy="177801"/>
          </a:xfrm>
          <a:prstGeom prst="rect">
            <a:avLst/>
          </a:prstGeom>
        </p:spPr>
        <p:txBody>
          <a:bodyPr anchor="ctr"/>
          <a:lstStyle>
            <a:lvl1pPr algn="ctr">
              <a:defRPr sz="120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46024291"/>
      </p:ext>
    </p:extLst>
  </p:cSld>
  <p:clrMapOvr>
    <a:masterClrMapping/>
  </p:clrMapOvr>
  <p:transition spd="med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8" name="Group 43"/>
          <p:cNvGrpSpPr/>
          <p:nvPr/>
        </p:nvGrpSpPr>
        <p:grpSpPr>
          <a:xfrm>
            <a:off x="117876" y="101689"/>
            <a:ext cx="8434883" cy="6429124"/>
            <a:chOff x="0" y="0"/>
            <a:chExt cx="8434882" cy="6429123"/>
          </a:xfrm>
        </p:grpSpPr>
        <p:sp>
          <p:nvSpPr>
            <p:cNvPr id="391" name="Diamond 40"/>
            <p:cNvSpPr/>
            <p:nvPr/>
          </p:nvSpPr>
          <p:spPr>
            <a:xfrm>
              <a:off x="170798" y="3281265"/>
              <a:ext cx="3135825" cy="3135640"/>
            </a:xfrm>
            <a:prstGeom prst="diamond">
              <a:avLst/>
            </a:prstGeom>
            <a:solidFill>
              <a:srgbClr val="FDEADA">
                <a:alpha val="45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+mj-lt"/>
                  <a:ea typeface="+mj-ea"/>
                  <a:cs typeface="+mj-cs"/>
                  <a:sym typeface="Calibri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392" name="Diamond 39"/>
            <p:cNvSpPr/>
            <p:nvPr/>
          </p:nvSpPr>
          <p:spPr>
            <a:xfrm>
              <a:off x="202838" y="120459"/>
              <a:ext cx="6309038" cy="6308665"/>
            </a:xfrm>
            <a:prstGeom prst="diamond">
              <a:avLst/>
            </a:prstGeom>
            <a:solidFill>
              <a:srgbClr val="FDEAD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+mj-lt"/>
                  <a:ea typeface="+mj-ea"/>
                  <a:cs typeface="+mj-cs"/>
                  <a:sym typeface="Calibri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sp>
          <p:nvSpPr>
            <p:cNvPr id="393" name="Diamond 35"/>
            <p:cNvSpPr/>
            <p:nvPr/>
          </p:nvSpPr>
          <p:spPr>
            <a:xfrm>
              <a:off x="4943963" y="1312409"/>
              <a:ext cx="3490920" cy="3490714"/>
            </a:xfrm>
            <a:prstGeom prst="diamond">
              <a:avLst/>
            </a:prstGeom>
            <a:solidFill>
              <a:srgbClr val="EBF1DE">
                <a:alpha val="64999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+mj-lt"/>
                  <a:ea typeface="+mj-ea"/>
                  <a:cs typeface="+mj-cs"/>
                  <a:sym typeface="Calibri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  <p:grpSp>
          <p:nvGrpSpPr>
            <p:cNvPr id="406" name="Group 42"/>
            <p:cNvGrpSpPr/>
            <p:nvPr/>
          </p:nvGrpSpPr>
          <p:grpSpPr>
            <a:xfrm>
              <a:off x="0" y="0"/>
              <a:ext cx="2987205" cy="2450244"/>
              <a:chOff x="0" y="0"/>
              <a:chExt cx="2987204" cy="2450243"/>
            </a:xfrm>
          </p:grpSpPr>
          <p:grpSp>
            <p:nvGrpSpPr>
              <p:cNvPr id="404" name="Group 41"/>
              <p:cNvGrpSpPr/>
              <p:nvPr/>
            </p:nvGrpSpPr>
            <p:grpSpPr>
              <a:xfrm>
                <a:off x="-1" y="0"/>
                <a:ext cx="2987206" cy="2450244"/>
                <a:chOff x="0" y="0"/>
                <a:chExt cx="2987204" cy="2450243"/>
              </a:xfrm>
            </p:grpSpPr>
            <p:sp>
              <p:nvSpPr>
                <p:cNvPr id="394" name="Diamond 22"/>
                <p:cNvSpPr/>
                <p:nvPr/>
              </p:nvSpPr>
              <p:spPr>
                <a:xfrm>
                  <a:off x="395431" y="1637462"/>
                  <a:ext cx="236835" cy="236820"/>
                </a:xfrm>
                <a:prstGeom prst="diamond">
                  <a:avLst/>
                </a:prstGeom>
                <a:solidFill>
                  <a:srgbClr val="D7E4BD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+mj-lt"/>
                      <a:ea typeface="+mj-ea"/>
                      <a:cs typeface="+mj-cs"/>
                      <a:sym typeface="Calibri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95" name="Diamond 23"/>
                <p:cNvSpPr/>
                <p:nvPr/>
              </p:nvSpPr>
              <p:spPr>
                <a:xfrm>
                  <a:off x="826220" y="1925498"/>
                  <a:ext cx="378834" cy="378811"/>
                </a:xfrm>
                <a:prstGeom prst="diamond">
                  <a:avLst/>
                </a:prstGeom>
                <a:solidFill>
                  <a:srgbClr val="D9D9D9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+mj-lt"/>
                      <a:ea typeface="+mj-ea"/>
                      <a:cs typeface="+mj-cs"/>
                      <a:sym typeface="Calibri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96" name="Diamond 24"/>
                <p:cNvSpPr/>
                <p:nvPr/>
              </p:nvSpPr>
              <p:spPr>
                <a:xfrm>
                  <a:off x="2066363" y="961809"/>
                  <a:ext cx="459082" cy="459054"/>
                </a:xfrm>
                <a:prstGeom prst="diamond">
                  <a:avLst/>
                </a:prstGeom>
                <a:solidFill>
                  <a:srgbClr val="99CC0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+mj-lt"/>
                      <a:ea typeface="+mj-ea"/>
                      <a:cs typeface="+mj-cs"/>
                      <a:sym typeface="Calibri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97" name="Diamond 25"/>
                <p:cNvSpPr/>
                <p:nvPr/>
              </p:nvSpPr>
              <p:spPr>
                <a:xfrm>
                  <a:off x="64356" y="186889"/>
                  <a:ext cx="1738712" cy="1738609"/>
                </a:xfrm>
                <a:prstGeom prst="diamond">
                  <a:avLst/>
                </a:prstGeom>
                <a:solidFill>
                  <a:srgbClr val="D9D9D9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+mj-lt"/>
                      <a:ea typeface="+mj-ea"/>
                      <a:cs typeface="+mj-cs"/>
                      <a:sym typeface="Calibri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98" name="Diamond 26"/>
                <p:cNvSpPr/>
                <p:nvPr/>
              </p:nvSpPr>
              <p:spPr>
                <a:xfrm>
                  <a:off x="-1" y="180189"/>
                  <a:ext cx="1738712" cy="1738609"/>
                </a:xfrm>
                <a:prstGeom prst="diamond">
                  <a:avLst/>
                </a:prstGeom>
                <a:blipFill rotWithShape="1">
                  <a:blip r:embed="rId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+mj-lt"/>
                      <a:ea typeface="+mj-ea"/>
                      <a:cs typeface="+mj-cs"/>
                      <a:sym typeface="Calibri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99" name="Diamond 27"/>
                <p:cNvSpPr/>
                <p:nvPr/>
              </p:nvSpPr>
              <p:spPr>
                <a:xfrm>
                  <a:off x="1370006" y="0"/>
                  <a:ext cx="1219870" cy="1165595"/>
                </a:xfrm>
                <a:prstGeom prst="diamond">
                  <a:avLst/>
                </a:prstGeom>
                <a:blipFill rotWithShape="1"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+mj-lt"/>
                      <a:ea typeface="+mj-ea"/>
                      <a:cs typeface="+mj-cs"/>
                      <a:sym typeface="Calibri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00" name="Diamond 28"/>
                <p:cNvSpPr/>
                <p:nvPr/>
              </p:nvSpPr>
              <p:spPr>
                <a:xfrm>
                  <a:off x="1298371" y="1076308"/>
                  <a:ext cx="1070700" cy="1017454"/>
                </a:xfrm>
                <a:prstGeom prst="diamond">
                  <a:avLst/>
                </a:prstGeom>
                <a:blipFill rotWithShape="1">
                  <a:blip r:embed="rId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+mj-lt"/>
                      <a:ea typeface="+mj-ea"/>
                      <a:cs typeface="+mj-cs"/>
                      <a:sym typeface="Calibri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01" name="Diamond 29"/>
                <p:cNvSpPr/>
                <p:nvPr/>
              </p:nvSpPr>
              <p:spPr>
                <a:xfrm>
                  <a:off x="334655" y="1788255"/>
                  <a:ext cx="696633" cy="661989"/>
                </a:xfrm>
                <a:prstGeom prst="diamond">
                  <a:avLst/>
                </a:prstGeom>
                <a:blipFill rotWithShape="1">
                  <a:blip r:embed="rId5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+mj-lt"/>
                      <a:ea typeface="+mj-ea"/>
                      <a:cs typeface="+mj-cs"/>
                      <a:sym typeface="Calibri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02" name="Diamond 30"/>
                <p:cNvSpPr/>
                <p:nvPr/>
              </p:nvSpPr>
              <p:spPr>
                <a:xfrm>
                  <a:off x="2488492" y="186889"/>
                  <a:ext cx="498713" cy="473911"/>
                </a:xfrm>
                <a:prstGeom prst="diamond">
                  <a:avLst/>
                </a:prstGeom>
                <a:blipFill rotWithShape="1">
                  <a:blip r:embed="rId6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+mj-lt"/>
                      <a:ea typeface="+mj-ea"/>
                      <a:cs typeface="+mj-cs"/>
                      <a:sym typeface="Calibri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403" name="Diamond 31"/>
                <p:cNvSpPr/>
                <p:nvPr/>
              </p:nvSpPr>
              <p:spPr>
                <a:xfrm>
                  <a:off x="2270160" y="2502"/>
                  <a:ext cx="378833" cy="378811"/>
                </a:xfrm>
                <a:prstGeom prst="diamond">
                  <a:avLst/>
                </a:prstGeom>
                <a:solidFill>
                  <a:srgbClr val="D9D9D9">
                    <a:alpha val="49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+mj-lt"/>
                      <a:ea typeface="+mj-ea"/>
                      <a:cs typeface="+mj-cs"/>
                      <a:sym typeface="Calibri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Calibri"/>
                    <a:cs typeface="Calibri"/>
                    <a:sym typeface="Calibri"/>
                  </a:endParaRPr>
                </a:p>
              </p:txBody>
            </p:sp>
          </p:grpSp>
          <p:sp>
            <p:nvSpPr>
              <p:cNvPr id="405" name="Diamond 20"/>
              <p:cNvSpPr/>
              <p:nvPr/>
            </p:nvSpPr>
            <p:spPr>
              <a:xfrm>
                <a:off x="1470878" y="1984579"/>
                <a:ext cx="378833" cy="378811"/>
              </a:xfrm>
              <a:prstGeom prst="diamond">
                <a:avLst/>
              </a:prstGeom>
              <a:solidFill>
                <a:srgbClr val="C3D69B">
                  <a:alpha val="49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+mj-lt"/>
                    <a:ea typeface="+mj-ea"/>
                    <a:cs typeface="+mj-cs"/>
                    <a:sym typeface="Calibri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407" name="Diamond 36"/>
            <p:cNvSpPr/>
            <p:nvPr/>
          </p:nvSpPr>
          <p:spPr>
            <a:xfrm>
              <a:off x="4444323" y="3150632"/>
              <a:ext cx="2245100" cy="2244967"/>
            </a:xfrm>
            <a:prstGeom prst="diamond">
              <a:avLst/>
            </a:prstGeom>
            <a:solidFill>
              <a:srgbClr val="FFFFFF">
                <a:alpha val="52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+mj-lt"/>
                  <a:ea typeface="+mj-ea"/>
                  <a:cs typeface="+mj-cs"/>
                  <a:sym typeface="Calibri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cs typeface="Calibri"/>
                <a:sym typeface="Calibri"/>
              </a:endParaRPr>
            </a:p>
          </p:txBody>
        </p:sp>
      </p:grpSp>
      <p:sp>
        <p:nvSpPr>
          <p:cNvPr id="409" name="Title Text"/>
          <p:cNvSpPr txBox="1">
            <a:spLocks noGrp="1"/>
          </p:cNvSpPr>
          <p:nvPr>
            <p:ph type="title"/>
          </p:nvPr>
        </p:nvSpPr>
        <p:spPr>
          <a:xfrm>
            <a:off x="722449" y="2747898"/>
            <a:ext cx="7771997" cy="1362206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defTabSz="914400">
              <a:tabLst/>
              <a:defRPr sz="4100" cap="all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pic>
        <p:nvPicPr>
          <p:cNvPr id="410" name="Picture 33" descr="Picture 3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184" y="5911715"/>
            <a:ext cx="2289219" cy="638535"/>
          </a:xfrm>
          <a:prstGeom prst="rect">
            <a:avLst/>
          </a:prstGeom>
          <a:ln w="12700">
            <a:miter lim="400000"/>
          </a:ln>
        </p:spPr>
      </p:pic>
      <p:sp>
        <p:nvSpPr>
          <p:cNvPr id="411" name="Straight Connector 32"/>
          <p:cNvSpPr/>
          <p:nvPr/>
        </p:nvSpPr>
        <p:spPr>
          <a:xfrm>
            <a:off x="714995" y="5840800"/>
            <a:ext cx="7779451" cy="1"/>
          </a:xfrm>
          <a:prstGeom prst="line">
            <a:avLst/>
          </a:prstGeom>
          <a:ln w="38100">
            <a:solidFill>
              <a:srgbClr val="A6A6A6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1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2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87711050"/>
      </p:ext>
    </p:extLst>
  </p:cSld>
  <p:clrMapOvr>
    <a:masterClrMapping/>
  </p:clrMapOvr>
  <p:transition spd="med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Title Text"/>
          <p:cNvSpPr txBox="1">
            <a:spLocks noGrp="1"/>
          </p:cNvSpPr>
          <p:nvPr>
            <p:ph type="title"/>
          </p:nvPr>
        </p:nvSpPr>
        <p:spPr>
          <a:xfrm>
            <a:off x="3195946" y="2304899"/>
            <a:ext cx="5500979" cy="1470729"/>
          </a:xfrm>
          <a:prstGeom prst="rect">
            <a:avLst/>
          </a:prstGeom>
        </p:spPr>
        <p:txBody>
          <a:bodyPr lIns="46648" tIns="46648" rIns="46648" bIns="46648" anchor="ctr">
            <a:normAutofit/>
          </a:bodyPr>
          <a:lstStyle>
            <a:lvl1pPr algn="ctr" defTabSz="932962">
              <a:tabLst/>
              <a:defRPr sz="4500" b="0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r>
              <a:t>Title Text</a:t>
            </a:r>
          </a:p>
        </p:txBody>
      </p:sp>
      <p:sp>
        <p:nvSpPr>
          <p:cNvPr id="42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372006" y="3885769"/>
            <a:ext cx="6399990" cy="1752564"/>
          </a:xfrm>
          <a:prstGeom prst="rect">
            <a:avLst/>
          </a:prstGeom>
        </p:spPr>
        <p:txBody>
          <a:bodyPr lIns="46648" tIns="46648" rIns="46648" bIns="46648">
            <a:normAutofit/>
          </a:bodyPr>
          <a:lstStyle>
            <a:lvl1pPr marL="0" indent="0" algn="ctr" defTabSz="932962">
              <a:spcBef>
                <a:spcPts val="700"/>
              </a:spcBef>
              <a:buClrTx/>
              <a:buSzTx/>
              <a:buNone/>
              <a:defRPr sz="3300">
                <a:solidFill>
                  <a:srgbClr val="888888"/>
                </a:solidFill>
                <a:latin typeface="TH SarabunPSK"/>
                <a:ea typeface="TH SarabunPSK"/>
                <a:cs typeface="TH SarabunPSK"/>
                <a:sym typeface="TH SarabunPSK"/>
              </a:defRPr>
            </a:lvl1pPr>
            <a:lvl2pPr marL="0" indent="466430" algn="ctr" defTabSz="932962">
              <a:spcBef>
                <a:spcPts val="700"/>
              </a:spcBef>
              <a:buClrTx/>
              <a:buSzTx/>
              <a:buNone/>
              <a:defRPr sz="3300">
                <a:solidFill>
                  <a:srgbClr val="888888"/>
                </a:solidFill>
                <a:latin typeface="TH SarabunPSK"/>
                <a:ea typeface="TH SarabunPSK"/>
                <a:cs typeface="TH SarabunPSK"/>
                <a:sym typeface="TH SarabunPSK"/>
              </a:defRPr>
            </a:lvl2pPr>
            <a:lvl3pPr marL="0" indent="932863" algn="ctr" defTabSz="932962">
              <a:spcBef>
                <a:spcPts val="700"/>
              </a:spcBef>
              <a:buClrTx/>
              <a:buSzTx/>
              <a:buNone/>
              <a:defRPr sz="3300">
                <a:solidFill>
                  <a:srgbClr val="888888"/>
                </a:solidFill>
                <a:latin typeface="TH SarabunPSK"/>
                <a:ea typeface="TH SarabunPSK"/>
                <a:cs typeface="TH SarabunPSK"/>
                <a:sym typeface="TH SarabunPSK"/>
              </a:defRPr>
            </a:lvl3pPr>
            <a:lvl4pPr marL="0" indent="1399295" algn="ctr" defTabSz="932962">
              <a:spcBef>
                <a:spcPts val="700"/>
              </a:spcBef>
              <a:buClrTx/>
              <a:buSzTx/>
              <a:buNone/>
              <a:defRPr sz="3300">
                <a:solidFill>
                  <a:srgbClr val="888888"/>
                </a:solidFill>
                <a:latin typeface="TH SarabunPSK"/>
                <a:ea typeface="TH SarabunPSK"/>
                <a:cs typeface="TH SarabunPSK"/>
                <a:sym typeface="TH SarabunPSK"/>
              </a:defRPr>
            </a:lvl4pPr>
            <a:lvl5pPr marL="0" indent="1865727" algn="ctr" defTabSz="932962">
              <a:spcBef>
                <a:spcPts val="700"/>
              </a:spcBef>
              <a:buClrTx/>
              <a:buSzTx/>
              <a:buNone/>
              <a:defRPr sz="3300">
                <a:solidFill>
                  <a:srgbClr val="888888"/>
                </a:solidFill>
                <a:latin typeface="TH SarabunPSK"/>
                <a:ea typeface="TH SarabunPSK"/>
                <a:cs typeface="TH SarabunPSK"/>
                <a:sym typeface="TH SarabunPSK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2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1072" y="6456359"/>
            <a:ext cx="513491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l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422" name="Straight Connector 7"/>
          <p:cNvSpPr/>
          <p:nvPr/>
        </p:nvSpPr>
        <p:spPr>
          <a:xfrm>
            <a:off x="714993" y="6025450"/>
            <a:ext cx="7714014" cy="1"/>
          </a:xfrm>
          <a:prstGeom prst="line">
            <a:avLst/>
          </a:prstGeom>
          <a:ln w="38100">
            <a:solidFill>
              <a:srgbClr val="A6A6A6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423" name="Picture 9" descr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9554" y="64120"/>
            <a:ext cx="2975571" cy="829979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437" name="Group 11"/>
          <p:cNvGrpSpPr/>
          <p:nvPr/>
        </p:nvGrpSpPr>
        <p:grpSpPr>
          <a:xfrm>
            <a:off x="-4860" y="-4858"/>
            <a:ext cx="5019636" cy="5048749"/>
            <a:chOff x="0" y="0"/>
            <a:chExt cx="5019634" cy="5048747"/>
          </a:xfrm>
        </p:grpSpPr>
        <p:grpSp>
          <p:nvGrpSpPr>
            <p:cNvPr id="435" name="Group 10"/>
            <p:cNvGrpSpPr/>
            <p:nvPr/>
          </p:nvGrpSpPr>
          <p:grpSpPr>
            <a:xfrm>
              <a:off x="-1" y="-1"/>
              <a:ext cx="5019636" cy="5048749"/>
              <a:chOff x="0" y="0"/>
              <a:chExt cx="5019634" cy="5048747"/>
            </a:xfrm>
          </p:grpSpPr>
          <p:sp>
            <p:nvSpPr>
              <p:cNvPr id="424" name="Right Triangle 8"/>
              <p:cNvSpPr/>
              <p:nvPr/>
            </p:nvSpPr>
            <p:spPr>
              <a:xfrm rot="5400000">
                <a:off x="-14557" y="14556"/>
                <a:ext cx="5048748" cy="501963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lnTo>
                      <a:pt x="2160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0300"/>
                  </a:gs>
                  <a:gs pos="48000">
                    <a:srgbClr val="FF7A00"/>
                  </a:gs>
                  <a:gs pos="100000">
                    <a:srgbClr val="FFF200"/>
                  </a:gs>
                </a:gsLst>
                <a:lin ang="189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425" name="Diamond 22"/>
              <p:cNvSpPr/>
              <p:nvPr/>
            </p:nvSpPr>
            <p:spPr>
              <a:xfrm>
                <a:off x="687120" y="2553041"/>
                <a:ext cx="357662" cy="357640"/>
              </a:xfrm>
              <a:prstGeom prst="diamond">
                <a:avLst/>
              </a:prstGeom>
              <a:solidFill>
                <a:srgbClr val="D7E4BD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426" name="Diamond 21"/>
              <p:cNvSpPr/>
              <p:nvPr/>
            </p:nvSpPr>
            <p:spPr>
              <a:xfrm>
                <a:off x="1337688" y="2988027"/>
                <a:ext cx="572105" cy="572071"/>
              </a:xfrm>
              <a:prstGeom prst="diamond">
                <a:avLst/>
              </a:prstGeom>
              <a:solidFill>
                <a:srgbClr val="D9D9D9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427" name="Diamond 20"/>
              <p:cNvSpPr/>
              <p:nvPr/>
            </p:nvSpPr>
            <p:spPr>
              <a:xfrm>
                <a:off x="3210522" y="1532684"/>
                <a:ext cx="693294" cy="693253"/>
              </a:xfrm>
              <a:prstGeom prst="diamond">
                <a:avLst/>
              </a:prstGeom>
              <a:solidFill>
                <a:srgbClr val="99CC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428" name="Diamond 17"/>
              <p:cNvSpPr/>
              <p:nvPr/>
            </p:nvSpPr>
            <p:spPr>
              <a:xfrm>
                <a:off x="187138" y="362419"/>
                <a:ext cx="2625763" cy="2625608"/>
              </a:xfrm>
              <a:prstGeom prst="diamond">
                <a:avLst/>
              </a:prstGeom>
              <a:solidFill>
                <a:srgbClr val="D9D9D9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429" name="Diamond 12"/>
              <p:cNvSpPr/>
              <p:nvPr/>
            </p:nvSpPr>
            <p:spPr>
              <a:xfrm>
                <a:off x="89947" y="352300"/>
                <a:ext cx="2625763" cy="2625608"/>
              </a:xfrm>
              <a:prstGeom prst="diamond">
                <a:avLst/>
              </a:prstGeom>
              <a:blipFill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 cap="flat">
                <a:noFill/>
                <a:miter lim="400000"/>
              </a:ln>
              <a:effectLst>
                <a:outerShdw blurRad="50800" dist="38100" dir="2700000" rotWithShape="0">
                  <a:srgbClr val="000000">
                    <a:alpha val="40000"/>
                  </a:srgbClr>
                </a:outerShdw>
              </a:effectLst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430" name="Diamond 14"/>
              <p:cNvSpPr/>
              <p:nvPr/>
            </p:nvSpPr>
            <p:spPr>
              <a:xfrm>
                <a:off x="2158900" y="80182"/>
                <a:ext cx="1842220" cy="1760256"/>
              </a:xfrm>
              <a:prstGeom prst="diamond">
                <a:avLst/>
              </a:prstGeom>
              <a:blipFill rotWithShape="1"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 cap="flat">
                <a:noFill/>
                <a:miter lim="400000"/>
              </a:ln>
              <a:effectLst>
                <a:outerShdw blurRad="50800" dist="38100" dir="2700000" rotWithShape="0">
                  <a:srgbClr val="000000">
                    <a:alpha val="40000"/>
                  </a:srgbClr>
                </a:outerShdw>
              </a:effectLst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431" name="Diamond 15"/>
              <p:cNvSpPr/>
              <p:nvPr/>
            </p:nvSpPr>
            <p:spPr>
              <a:xfrm>
                <a:off x="2050718" y="1705598"/>
                <a:ext cx="1616947" cy="1536536"/>
              </a:xfrm>
              <a:prstGeom prst="diamond">
                <a:avLst/>
              </a:prstGeom>
              <a:blipFill rotWithShape="1"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 cap="flat">
                <a:noFill/>
                <a:miter lim="400000"/>
              </a:ln>
              <a:effectLst>
                <a:outerShdw blurRad="50800" dist="38100" dir="2700000" rotWithShape="0">
                  <a:srgbClr val="000000">
                    <a:alpha val="40000"/>
                  </a:srgbClr>
                </a:outerShdw>
              </a:effectLst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432" name="Diamond 18"/>
              <p:cNvSpPr/>
              <p:nvPr/>
            </p:nvSpPr>
            <p:spPr>
              <a:xfrm>
                <a:off x="595337" y="2780765"/>
                <a:ext cx="1052040" cy="999721"/>
              </a:xfrm>
              <a:prstGeom prst="diamond">
                <a:avLst/>
              </a:prstGeom>
              <a:blipFill rotWithShape="1"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 cap="flat">
                <a:noFill/>
                <a:miter lim="400000"/>
              </a:ln>
              <a:effectLst>
                <a:outerShdw blurRad="50800" dist="38100" dir="2700000" rotWithShape="0">
                  <a:srgbClr val="000000">
                    <a:alpha val="40000"/>
                  </a:srgbClr>
                </a:outerShdw>
              </a:effectLst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433" name="Diamond 19"/>
              <p:cNvSpPr/>
              <p:nvPr/>
            </p:nvSpPr>
            <p:spPr>
              <a:xfrm>
                <a:off x="3848012" y="362419"/>
                <a:ext cx="753145" cy="715690"/>
              </a:xfrm>
              <a:prstGeom prst="diamond">
                <a:avLst/>
              </a:prstGeom>
              <a:blipFill rotWithShape="1"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 cap="flat">
                <a:noFill/>
                <a:miter lim="400000"/>
              </a:ln>
              <a:effectLst>
                <a:outerShdw blurRad="50800" dist="38100" dir="2700000" rotWithShape="0">
                  <a:srgbClr val="000000">
                    <a:alpha val="40000"/>
                  </a:srgbClr>
                </a:outerShdw>
              </a:effectLst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434" name="Diamond 23"/>
              <p:cNvSpPr/>
              <p:nvPr/>
            </p:nvSpPr>
            <p:spPr>
              <a:xfrm>
                <a:off x="3518292" y="83962"/>
                <a:ext cx="572105" cy="572071"/>
              </a:xfrm>
              <a:prstGeom prst="diamond">
                <a:avLst/>
              </a:prstGeom>
              <a:solidFill>
                <a:srgbClr val="D9D9D9">
                  <a:alpha val="49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</p:grpSp>
        <p:sp>
          <p:nvSpPr>
            <p:cNvPr id="436" name="Diamond 24"/>
            <p:cNvSpPr/>
            <p:nvPr/>
          </p:nvSpPr>
          <p:spPr>
            <a:xfrm>
              <a:off x="2311235" y="3077250"/>
              <a:ext cx="572105" cy="572072"/>
            </a:xfrm>
            <a:prstGeom prst="diamond">
              <a:avLst/>
            </a:prstGeom>
            <a:solidFill>
              <a:srgbClr val="C3D69B">
                <a:alpha val="49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TH SarabunPSK"/>
                  <a:ea typeface="TH SarabunPSK"/>
                  <a:cs typeface="TH SarabunPSK"/>
                  <a:sym typeface="TH SarabunPSK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1005360"/>
      </p:ext>
    </p:extLst>
  </p:cSld>
  <p:clrMapOvr>
    <a:masterClrMapping/>
  </p:clrMapOvr>
  <p:transition spd="med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4" name="Rectangle 22"/>
          <p:cNvSpPr/>
          <p:nvPr/>
        </p:nvSpPr>
        <p:spPr>
          <a:xfrm>
            <a:off x="9720" y="1"/>
            <a:ext cx="9134280" cy="918280"/>
          </a:xfrm>
          <a:prstGeom prst="rect">
            <a:avLst/>
          </a:prstGeom>
          <a:solidFill>
            <a:srgbClr val="FDEADA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445" name="Straight Connector 12"/>
          <p:cNvSpPr/>
          <p:nvPr/>
        </p:nvSpPr>
        <p:spPr>
          <a:xfrm>
            <a:off x="608941" y="981648"/>
            <a:ext cx="8442861" cy="1"/>
          </a:xfrm>
          <a:prstGeom prst="line">
            <a:avLst/>
          </a:prstGeom>
          <a:ln w="57150">
            <a:solidFill>
              <a:srgbClr val="FF7A00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46" name="Title Text"/>
          <p:cNvSpPr txBox="1">
            <a:spLocks noGrp="1"/>
          </p:cNvSpPr>
          <p:nvPr>
            <p:ph type="title"/>
          </p:nvPr>
        </p:nvSpPr>
        <p:spPr>
          <a:xfrm>
            <a:off x="456794" y="32395"/>
            <a:ext cx="8230412" cy="914281"/>
          </a:xfrm>
          <a:prstGeom prst="rect">
            <a:avLst/>
          </a:prstGeom>
        </p:spPr>
        <p:txBody>
          <a:bodyPr lIns="46648" tIns="46648" rIns="46648" bIns="46648" anchor="ctr">
            <a:normAutofit/>
          </a:bodyPr>
          <a:lstStyle>
            <a:lvl1pPr algn="ctr" defTabSz="932962">
              <a:tabLst/>
              <a:defRPr sz="4500" b="0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r>
              <a:t>Title Text</a:t>
            </a:r>
          </a:p>
        </p:txBody>
      </p:sp>
      <p:sp>
        <p:nvSpPr>
          <p:cNvPr id="44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8420" y="6453472"/>
            <a:ext cx="514268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l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448" name="Diamond 16"/>
          <p:cNvSpPr/>
          <p:nvPr/>
        </p:nvSpPr>
        <p:spPr>
          <a:xfrm>
            <a:off x="40955" y="664755"/>
            <a:ext cx="572105" cy="572072"/>
          </a:xfrm>
          <a:prstGeom prst="diamond">
            <a:avLst/>
          </a:prstGeom>
          <a:solidFill>
            <a:srgbClr val="E2E2E2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449" name="Diamond 17"/>
          <p:cNvSpPr/>
          <p:nvPr/>
        </p:nvSpPr>
        <p:spPr>
          <a:xfrm>
            <a:off x="371482" y="709233"/>
            <a:ext cx="286053" cy="286036"/>
          </a:xfrm>
          <a:prstGeom prst="diamond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450" name="Straight Connector 24"/>
          <p:cNvSpPr/>
          <p:nvPr/>
        </p:nvSpPr>
        <p:spPr>
          <a:xfrm flipV="1">
            <a:off x="4091718" y="1049678"/>
            <a:ext cx="5047556" cy="9719"/>
          </a:xfrm>
          <a:prstGeom prst="line">
            <a:avLst/>
          </a:prstGeom>
          <a:ln w="38100">
            <a:solidFill>
              <a:srgbClr val="9BBB59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451" name="Picture 11" descr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5290" y="950791"/>
            <a:ext cx="1196837" cy="33383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774472522"/>
      </p:ext>
    </p:extLst>
  </p:cSld>
  <p:clrMapOvr>
    <a:masterClrMapping/>
  </p:clrMapOvr>
  <p:transition spd="med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8420" y="6453472"/>
            <a:ext cx="514268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l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grpSp>
        <p:nvGrpSpPr>
          <p:cNvPr id="476" name="Group 43"/>
          <p:cNvGrpSpPr/>
          <p:nvPr/>
        </p:nvGrpSpPr>
        <p:grpSpPr>
          <a:xfrm>
            <a:off x="117876" y="101689"/>
            <a:ext cx="8434883" cy="6429124"/>
            <a:chOff x="0" y="0"/>
            <a:chExt cx="8434882" cy="6429123"/>
          </a:xfrm>
        </p:grpSpPr>
        <p:sp>
          <p:nvSpPr>
            <p:cNvPr id="459" name="Diamond 40"/>
            <p:cNvSpPr/>
            <p:nvPr/>
          </p:nvSpPr>
          <p:spPr>
            <a:xfrm>
              <a:off x="170798" y="3281265"/>
              <a:ext cx="3135825" cy="3135640"/>
            </a:xfrm>
            <a:prstGeom prst="diamond">
              <a:avLst/>
            </a:prstGeom>
            <a:solidFill>
              <a:srgbClr val="FDEADA">
                <a:alpha val="45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TH SarabunPSK"/>
                  <a:ea typeface="TH SarabunPSK"/>
                  <a:cs typeface="TH SarabunPSK"/>
                  <a:sym typeface="TH SarabunPSK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endParaRPr>
            </a:p>
          </p:txBody>
        </p:sp>
        <p:sp>
          <p:nvSpPr>
            <p:cNvPr id="460" name="Diamond 39"/>
            <p:cNvSpPr/>
            <p:nvPr/>
          </p:nvSpPr>
          <p:spPr>
            <a:xfrm>
              <a:off x="202838" y="120459"/>
              <a:ext cx="6309038" cy="6308665"/>
            </a:xfrm>
            <a:prstGeom prst="diamond">
              <a:avLst/>
            </a:prstGeom>
            <a:solidFill>
              <a:srgbClr val="FDEAD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TH SarabunPSK"/>
                  <a:ea typeface="TH SarabunPSK"/>
                  <a:cs typeface="TH SarabunPSK"/>
                  <a:sym typeface="TH SarabunPSK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endParaRPr>
            </a:p>
          </p:txBody>
        </p:sp>
        <p:sp>
          <p:nvSpPr>
            <p:cNvPr id="461" name="Diamond 35"/>
            <p:cNvSpPr/>
            <p:nvPr/>
          </p:nvSpPr>
          <p:spPr>
            <a:xfrm>
              <a:off x="4943963" y="1312409"/>
              <a:ext cx="3490920" cy="3490714"/>
            </a:xfrm>
            <a:prstGeom prst="diamond">
              <a:avLst/>
            </a:prstGeom>
            <a:solidFill>
              <a:srgbClr val="EBF1DE">
                <a:alpha val="64999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TH SarabunPSK"/>
                  <a:ea typeface="TH SarabunPSK"/>
                  <a:cs typeface="TH SarabunPSK"/>
                  <a:sym typeface="TH SarabunPSK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endParaRPr>
            </a:p>
          </p:txBody>
        </p:sp>
        <p:grpSp>
          <p:nvGrpSpPr>
            <p:cNvPr id="474" name="Group 42"/>
            <p:cNvGrpSpPr/>
            <p:nvPr/>
          </p:nvGrpSpPr>
          <p:grpSpPr>
            <a:xfrm>
              <a:off x="0" y="0"/>
              <a:ext cx="2987205" cy="2450244"/>
              <a:chOff x="0" y="0"/>
              <a:chExt cx="2987204" cy="2450243"/>
            </a:xfrm>
          </p:grpSpPr>
          <p:grpSp>
            <p:nvGrpSpPr>
              <p:cNvPr id="472" name="Group 41"/>
              <p:cNvGrpSpPr/>
              <p:nvPr/>
            </p:nvGrpSpPr>
            <p:grpSpPr>
              <a:xfrm>
                <a:off x="-1" y="0"/>
                <a:ext cx="2987206" cy="2450244"/>
                <a:chOff x="0" y="0"/>
                <a:chExt cx="2987204" cy="2450243"/>
              </a:xfrm>
            </p:grpSpPr>
            <p:sp>
              <p:nvSpPr>
                <p:cNvPr id="462" name="Diamond 22"/>
                <p:cNvSpPr/>
                <p:nvPr/>
              </p:nvSpPr>
              <p:spPr>
                <a:xfrm>
                  <a:off x="395431" y="1637462"/>
                  <a:ext cx="236835" cy="236820"/>
                </a:xfrm>
                <a:prstGeom prst="diamond">
                  <a:avLst/>
                </a:prstGeom>
                <a:solidFill>
                  <a:srgbClr val="D7E4BD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463" name="Diamond 23"/>
                <p:cNvSpPr/>
                <p:nvPr/>
              </p:nvSpPr>
              <p:spPr>
                <a:xfrm>
                  <a:off x="826220" y="1925498"/>
                  <a:ext cx="378834" cy="378811"/>
                </a:xfrm>
                <a:prstGeom prst="diamond">
                  <a:avLst/>
                </a:prstGeom>
                <a:solidFill>
                  <a:srgbClr val="D9D9D9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464" name="Diamond 24"/>
                <p:cNvSpPr/>
                <p:nvPr/>
              </p:nvSpPr>
              <p:spPr>
                <a:xfrm>
                  <a:off x="2066363" y="961809"/>
                  <a:ext cx="459082" cy="459054"/>
                </a:xfrm>
                <a:prstGeom prst="diamond">
                  <a:avLst/>
                </a:prstGeom>
                <a:solidFill>
                  <a:srgbClr val="99CC0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465" name="Diamond 25"/>
                <p:cNvSpPr/>
                <p:nvPr/>
              </p:nvSpPr>
              <p:spPr>
                <a:xfrm>
                  <a:off x="64356" y="186889"/>
                  <a:ext cx="1738712" cy="1738609"/>
                </a:xfrm>
                <a:prstGeom prst="diamond">
                  <a:avLst/>
                </a:prstGeom>
                <a:solidFill>
                  <a:srgbClr val="D9D9D9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466" name="Diamond 26"/>
                <p:cNvSpPr/>
                <p:nvPr/>
              </p:nvSpPr>
              <p:spPr>
                <a:xfrm>
                  <a:off x="-1" y="180189"/>
                  <a:ext cx="1738712" cy="1738609"/>
                </a:xfrm>
                <a:prstGeom prst="diamond">
                  <a:avLst/>
                </a:prstGeom>
                <a:blipFill rotWithShape="1">
                  <a:blip r:embed="rId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467" name="Diamond 27"/>
                <p:cNvSpPr/>
                <p:nvPr/>
              </p:nvSpPr>
              <p:spPr>
                <a:xfrm>
                  <a:off x="1370006" y="0"/>
                  <a:ext cx="1219870" cy="1165595"/>
                </a:xfrm>
                <a:prstGeom prst="diamond">
                  <a:avLst/>
                </a:prstGeom>
                <a:blipFill rotWithShape="1"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468" name="Diamond 28"/>
                <p:cNvSpPr/>
                <p:nvPr/>
              </p:nvSpPr>
              <p:spPr>
                <a:xfrm>
                  <a:off x="1298371" y="1076308"/>
                  <a:ext cx="1070700" cy="1017454"/>
                </a:xfrm>
                <a:prstGeom prst="diamond">
                  <a:avLst/>
                </a:prstGeom>
                <a:blipFill rotWithShape="1">
                  <a:blip r:embed="rId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469" name="Diamond 29"/>
                <p:cNvSpPr/>
                <p:nvPr/>
              </p:nvSpPr>
              <p:spPr>
                <a:xfrm>
                  <a:off x="334655" y="1788255"/>
                  <a:ext cx="696633" cy="661989"/>
                </a:xfrm>
                <a:prstGeom prst="diamond">
                  <a:avLst/>
                </a:prstGeom>
                <a:blipFill rotWithShape="1">
                  <a:blip r:embed="rId5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470" name="Diamond 30"/>
                <p:cNvSpPr/>
                <p:nvPr/>
              </p:nvSpPr>
              <p:spPr>
                <a:xfrm>
                  <a:off x="2488492" y="186889"/>
                  <a:ext cx="498713" cy="473911"/>
                </a:xfrm>
                <a:prstGeom prst="diamond">
                  <a:avLst/>
                </a:prstGeom>
                <a:blipFill rotWithShape="1">
                  <a:blip r:embed="rId6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471" name="Diamond 31"/>
                <p:cNvSpPr/>
                <p:nvPr/>
              </p:nvSpPr>
              <p:spPr>
                <a:xfrm>
                  <a:off x="2270160" y="2502"/>
                  <a:ext cx="378833" cy="378811"/>
                </a:xfrm>
                <a:prstGeom prst="diamond">
                  <a:avLst/>
                </a:prstGeom>
                <a:solidFill>
                  <a:srgbClr val="D9D9D9">
                    <a:alpha val="49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</p:grpSp>
          <p:sp>
            <p:nvSpPr>
              <p:cNvPr id="473" name="Diamond 20"/>
              <p:cNvSpPr/>
              <p:nvPr/>
            </p:nvSpPr>
            <p:spPr>
              <a:xfrm>
                <a:off x="1470878" y="1984579"/>
                <a:ext cx="378833" cy="378811"/>
              </a:xfrm>
              <a:prstGeom prst="diamond">
                <a:avLst/>
              </a:prstGeom>
              <a:solidFill>
                <a:srgbClr val="C3D69B">
                  <a:alpha val="49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</p:grpSp>
        <p:sp>
          <p:nvSpPr>
            <p:cNvPr id="475" name="Diamond 36"/>
            <p:cNvSpPr/>
            <p:nvPr/>
          </p:nvSpPr>
          <p:spPr>
            <a:xfrm>
              <a:off x="4444323" y="3150632"/>
              <a:ext cx="2245100" cy="2244967"/>
            </a:xfrm>
            <a:prstGeom prst="diamond">
              <a:avLst/>
            </a:prstGeom>
            <a:solidFill>
              <a:srgbClr val="FFFFFF">
                <a:alpha val="52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TH SarabunPSK"/>
                  <a:ea typeface="TH SarabunPSK"/>
                  <a:cs typeface="TH SarabunPSK"/>
                  <a:sym typeface="TH SarabunPSK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endParaRPr>
            </a:p>
          </p:txBody>
        </p:sp>
      </p:grpSp>
      <p:sp>
        <p:nvSpPr>
          <p:cNvPr id="477" name="Title Text"/>
          <p:cNvSpPr txBox="1">
            <a:spLocks noGrp="1"/>
          </p:cNvSpPr>
          <p:nvPr>
            <p:ph type="title"/>
          </p:nvPr>
        </p:nvSpPr>
        <p:spPr>
          <a:xfrm>
            <a:off x="722449" y="2747898"/>
            <a:ext cx="7771997" cy="1362206"/>
          </a:xfrm>
          <a:prstGeom prst="rect">
            <a:avLst/>
          </a:prstGeom>
        </p:spPr>
        <p:txBody>
          <a:bodyPr lIns="46648" tIns="46648" rIns="46648" bIns="46648">
            <a:normAutofit/>
          </a:bodyPr>
          <a:lstStyle>
            <a:lvl1pPr defTabSz="932962">
              <a:tabLst/>
              <a:defRPr sz="4100" cap="all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r>
              <a:t>Title Text</a:t>
            </a:r>
          </a:p>
        </p:txBody>
      </p:sp>
      <p:pic>
        <p:nvPicPr>
          <p:cNvPr id="478" name="Picture 33" descr="Picture 3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184" y="5911715"/>
            <a:ext cx="2289219" cy="638535"/>
          </a:xfrm>
          <a:prstGeom prst="rect">
            <a:avLst/>
          </a:prstGeom>
          <a:ln w="12700">
            <a:miter lim="400000"/>
          </a:ln>
        </p:spPr>
      </p:pic>
      <p:sp>
        <p:nvSpPr>
          <p:cNvPr id="479" name="Straight Connector 32"/>
          <p:cNvSpPr/>
          <p:nvPr/>
        </p:nvSpPr>
        <p:spPr>
          <a:xfrm>
            <a:off x="714995" y="5840800"/>
            <a:ext cx="7779451" cy="1"/>
          </a:xfrm>
          <a:prstGeom prst="line">
            <a:avLst/>
          </a:prstGeom>
          <a:ln w="38100">
            <a:solidFill>
              <a:srgbClr val="A6A6A6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78726990"/>
      </p:ext>
    </p:extLst>
  </p:cSld>
  <p:clrMapOvr>
    <a:masterClrMapping/>
  </p:clrMapOvr>
  <p:transition spd="med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6" name="Rounded Rectangle 15"/>
          <p:cNvSpPr/>
          <p:nvPr/>
        </p:nvSpPr>
        <p:spPr>
          <a:xfrm>
            <a:off x="456794" y="75979"/>
            <a:ext cx="8230412" cy="741448"/>
          </a:xfrm>
          <a:prstGeom prst="roundRect">
            <a:avLst>
              <a:gd name="adj" fmla="val 16667"/>
            </a:avLst>
          </a:prstGeom>
          <a:solidFill>
            <a:srgbClr val="FF3300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487" name="Title Text"/>
          <p:cNvSpPr txBox="1">
            <a:spLocks noGrp="1"/>
          </p:cNvSpPr>
          <p:nvPr>
            <p:ph type="title"/>
          </p:nvPr>
        </p:nvSpPr>
        <p:spPr>
          <a:xfrm>
            <a:off x="456794" y="92469"/>
            <a:ext cx="8230412" cy="738209"/>
          </a:xfrm>
          <a:prstGeom prst="rect">
            <a:avLst/>
          </a:prstGeom>
        </p:spPr>
        <p:txBody>
          <a:bodyPr lIns="46648" tIns="46648" rIns="46648" bIns="46648" anchor="ctr">
            <a:normAutofit/>
          </a:bodyPr>
          <a:lstStyle>
            <a:lvl1pPr algn="ctr" defTabSz="932962">
              <a:tabLst/>
              <a:defRPr sz="4500" b="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r>
              <a:t>Title Text</a:t>
            </a:r>
          </a:p>
        </p:txBody>
      </p:sp>
      <p:sp>
        <p:nvSpPr>
          <p:cNvPr id="488" name="Straight Connector 7"/>
          <p:cNvSpPr/>
          <p:nvPr/>
        </p:nvSpPr>
        <p:spPr>
          <a:xfrm flipV="1">
            <a:off x="2390885" y="6792367"/>
            <a:ext cx="6722465" cy="17041"/>
          </a:xfrm>
          <a:prstGeom prst="line">
            <a:avLst/>
          </a:prstGeom>
          <a:ln w="57150">
            <a:solidFill>
              <a:srgbClr val="FF7A00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489" name="Straight Connector 8"/>
          <p:cNvSpPr/>
          <p:nvPr/>
        </p:nvSpPr>
        <p:spPr>
          <a:xfrm flipV="1">
            <a:off x="1225994" y="6738055"/>
            <a:ext cx="5047556" cy="9719"/>
          </a:xfrm>
          <a:prstGeom prst="line">
            <a:avLst/>
          </a:prstGeom>
          <a:ln w="38100">
            <a:solidFill>
              <a:srgbClr val="9BBB59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490" name="Picture 9" descr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524166"/>
            <a:ext cx="1196836" cy="333836"/>
          </a:xfrm>
          <a:prstGeom prst="rect">
            <a:avLst/>
          </a:prstGeom>
          <a:ln w="12700">
            <a:miter lim="400000"/>
          </a:ln>
        </p:spPr>
      </p:pic>
      <p:sp>
        <p:nvSpPr>
          <p:cNvPr id="49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8420" y="6453472"/>
            <a:ext cx="514268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ctr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492" name="Diamond 11"/>
          <p:cNvSpPr/>
          <p:nvPr/>
        </p:nvSpPr>
        <p:spPr>
          <a:xfrm>
            <a:off x="55471" y="92764"/>
            <a:ext cx="751211" cy="751167"/>
          </a:xfrm>
          <a:prstGeom prst="diamond">
            <a:avLst/>
          </a:prstGeom>
          <a:solidFill>
            <a:srgbClr val="E2E2E2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493" name="Diamond 12"/>
          <p:cNvSpPr/>
          <p:nvPr/>
        </p:nvSpPr>
        <p:spPr>
          <a:xfrm>
            <a:off x="369323" y="143161"/>
            <a:ext cx="377719" cy="377698"/>
          </a:xfrm>
          <a:prstGeom prst="diamond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494" name="Diamond 13"/>
          <p:cNvSpPr/>
          <p:nvPr/>
        </p:nvSpPr>
        <p:spPr>
          <a:xfrm>
            <a:off x="8311599" y="102481"/>
            <a:ext cx="751211" cy="751168"/>
          </a:xfrm>
          <a:prstGeom prst="diamond">
            <a:avLst/>
          </a:prstGeom>
          <a:solidFill>
            <a:srgbClr val="E2E2E2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495" name="Diamond 14"/>
          <p:cNvSpPr/>
          <p:nvPr/>
        </p:nvSpPr>
        <p:spPr>
          <a:xfrm>
            <a:off x="8311601" y="143161"/>
            <a:ext cx="377719" cy="377698"/>
          </a:xfrm>
          <a:prstGeom prst="diamond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</p:spTree>
    <p:extLst>
      <p:ext uri="{BB962C8B-B14F-4D97-AF65-F5344CB8AC3E}">
        <p14:creationId xmlns:p14="http://schemas.microsoft.com/office/powerpoint/2010/main" val="1852823377"/>
      </p:ext>
    </p:extLst>
  </p:cSld>
  <p:clrMapOvr>
    <a:masterClrMapping/>
  </p:clrMapOvr>
  <p:transition spd="med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8420" y="6453472"/>
            <a:ext cx="514268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ctr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503" name="Straight Connector 11"/>
          <p:cNvSpPr/>
          <p:nvPr/>
        </p:nvSpPr>
        <p:spPr>
          <a:xfrm flipV="1">
            <a:off x="2390885" y="6792367"/>
            <a:ext cx="6722465" cy="17041"/>
          </a:xfrm>
          <a:prstGeom prst="line">
            <a:avLst/>
          </a:prstGeom>
          <a:ln w="57150">
            <a:solidFill>
              <a:srgbClr val="FF7A00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04" name="Straight Connector 12"/>
          <p:cNvSpPr/>
          <p:nvPr/>
        </p:nvSpPr>
        <p:spPr>
          <a:xfrm flipV="1">
            <a:off x="1225994" y="6738055"/>
            <a:ext cx="5047556" cy="9719"/>
          </a:xfrm>
          <a:prstGeom prst="line">
            <a:avLst/>
          </a:prstGeom>
          <a:ln w="38100">
            <a:solidFill>
              <a:srgbClr val="9BBB59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505" name="Picture 13" descr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524166"/>
            <a:ext cx="1196836" cy="333836"/>
          </a:xfrm>
          <a:prstGeom prst="rect">
            <a:avLst/>
          </a:prstGeom>
          <a:ln w="12700">
            <a:miter lim="400000"/>
          </a:ln>
        </p:spPr>
      </p:pic>
      <p:sp>
        <p:nvSpPr>
          <p:cNvPr id="506" name="Rectangle 5"/>
          <p:cNvSpPr/>
          <p:nvPr/>
        </p:nvSpPr>
        <p:spPr>
          <a:xfrm>
            <a:off x="0" y="0"/>
            <a:ext cx="9144000" cy="1268760"/>
          </a:xfrm>
          <a:prstGeom prst="rect">
            <a:avLst/>
          </a:prstGeom>
          <a:solidFill>
            <a:srgbClr val="FDEADA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</p:spTree>
    <p:extLst>
      <p:ext uri="{BB962C8B-B14F-4D97-AF65-F5344CB8AC3E}">
        <p14:creationId xmlns:p14="http://schemas.microsoft.com/office/powerpoint/2010/main" val="689183736"/>
      </p:ext>
    </p:extLst>
  </p:cSld>
  <p:clrMapOvr>
    <a:masterClrMapping/>
  </p:clrMapOvr>
  <p:transition spd="med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3" name="Straight Connector 12"/>
          <p:cNvSpPr/>
          <p:nvPr/>
        </p:nvSpPr>
        <p:spPr>
          <a:xfrm flipV="1">
            <a:off x="4104382" y="6738055"/>
            <a:ext cx="5047556" cy="9719"/>
          </a:xfrm>
          <a:prstGeom prst="line">
            <a:avLst/>
          </a:prstGeom>
          <a:ln w="38100">
            <a:solidFill>
              <a:srgbClr val="9BBB59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514" name="Picture 13" descr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3636" y="6470015"/>
            <a:ext cx="1196837" cy="333836"/>
          </a:xfrm>
          <a:prstGeom prst="rect">
            <a:avLst/>
          </a:prstGeom>
          <a:ln w="12700">
            <a:miter lim="400000"/>
          </a:ln>
        </p:spPr>
      </p:pic>
      <p:sp>
        <p:nvSpPr>
          <p:cNvPr id="51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551489" y="6316630"/>
            <a:ext cx="514268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ctr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516" name="Straight Connector 11"/>
          <p:cNvSpPr/>
          <p:nvPr/>
        </p:nvSpPr>
        <p:spPr>
          <a:xfrm flipV="1">
            <a:off x="-1" y="6786810"/>
            <a:ext cx="6722465" cy="17041"/>
          </a:xfrm>
          <a:prstGeom prst="line">
            <a:avLst/>
          </a:prstGeom>
          <a:ln w="57150">
            <a:solidFill>
              <a:srgbClr val="FF7A00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17" name="Rectangle 5"/>
          <p:cNvSpPr/>
          <p:nvPr/>
        </p:nvSpPr>
        <p:spPr>
          <a:xfrm>
            <a:off x="0" y="0"/>
            <a:ext cx="9144000" cy="1268760"/>
          </a:xfrm>
          <a:prstGeom prst="rect">
            <a:avLst/>
          </a:prstGeom>
          <a:solidFill>
            <a:srgbClr val="FDEADA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</p:spTree>
    <p:extLst>
      <p:ext uri="{BB962C8B-B14F-4D97-AF65-F5344CB8AC3E}">
        <p14:creationId xmlns:p14="http://schemas.microsoft.com/office/powerpoint/2010/main" val="3928825566"/>
      </p:ext>
    </p:extLst>
  </p:cSld>
  <p:clrMapOvr>
    <a:masterClrMapping/>
  </p:clrMapOvr>
  <p:transition spd="med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8420" y="6453472"/>
            <a:ext cx="514268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ctr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</p:spTree>
    <p:extLst>
      <p:ext uri="{BB962C8B-B14F-4D97-AF65-F5344CB8AC3E}">
        <p14:creationId xmlns:p14="http://schemas.microsoft.com/office/powerpoint/2010/main" val="2348231294"/>
      </p:ext>
    </p:extLst>
  </p:cSld>
  <p:clrMapOvr>
    <a:masterClrMapping/>
  </p:clrMapOvr>
  <p:transition spd="med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1" name="Straight Connector 11"/>
          <p:cNvSpPr/>
          <p:nvPr/>
        </p:nvSpPr>
        <p:spPr>
          <a:xfrm flipV="1">
            <a:off x="2390885" y="6792367"/>
            <a:ext cx="6722465" cy="17041"/>
          </a:xfrm>
          <a:prstGeom prst="line">
            <a:avLst/>
          </a:prstGeom>
          <a:ln w="57150">
            <a:solidFill>
              <a:srgbClr val="FF7A00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532" name="Straight Connector 12"/>
          <p:cNvSpPr/>
          <p:nvPr/>
        </p:nvSpPr>
        <p:spPr>
          <a:xfrm flipV="1">
            <a:off x="1225994" y="6738055"/>
            <a:ext cx="5047556" cy="9719"/>
          </a:xfrm>
          <a:prstGeom prst="line">
            <a:avLst/>
          </a:prstGeom>
          <a:ln w="38100">
            <a:solidFill>
              <a:srgbClr val="9BBB59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533" name="Picture 13" descr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524166"/>
            <a:ext cx="1196836" cy="333836"/>
          </a:xfrm>
          <a:prstGeom prst="rect">
            <a:avLst/>
          </a:prstGeom>
          <a:ln w="12700">
            <a:miter lim="400000"/>
          </a:ln>
        </p:spPr>
      </p:pic>
      <p:sp>
        <p:nvSpPr>
          <p:cNvPr id="53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8420" y="6453472"/>
            <a:ext cx="514268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ctr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</p:spTree>
    <p:extLst>
      <p:ext uri="{BB962C8B-B14F-4D97-AF65-F5344CB8AC3E}">
        <p14:creationId xmlns:p14="http://schemas.microsoft.com/office/powerpoint/2010/main" val="3869954008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ว่างเปล่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49515752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1" name="Diamond 25"/>
          <p:cNvSpPr/>
          <p:nvPr/>
        </p:nvSpPr>
        <p:spPr>
          <a:xfrm>
            <a:off x="6790376" y="5048708"/>
            <a:ext cx="1738712" cy="1738609"/>
          </a:xfrm>
          <a:prstGeom prst="diamond">
            <a:avLst/>
          </a:prstGeom>
          <a:solidFill>
            <a:srgbClr val="D9D9D9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grpSp>
        <p:nvGrpSpPr>
          <p:cNvPr id="559" name="Group 43"/>
          <p:cNvGrpSpPr/>
          <p:nvPr/>
        </p:nvGrpSpPr>
        <p:grpSpPr>
          <a:xfrm>
            <a:off x="313581" y="242739"/>
            <a:ext cx="8434884" cy="6426621"/>
            <a:chOff x="0" y="0"/>
            <a:chExt cx="8434882" cy="6426620"/>
          </a:xfrm>
        </p:grpSpPr>
        <p:sp>
          <p:nvSpPr>
            <p:cNvPr id="542" name="Diamond 40"/>
            <p:cNvSpPr/>
            <p:nvPr/>
          </p:nvSpPr>
          <p:spPr>
            <a:xfrm>
              <a:off x="170798" y="3278762"/>
              <a:ext cx="3135825" cy="3135640"/>
            </a:xfrm>
            <a:prstGeom prst="diamond">
              <a:avLst/>
            </a:prstGeom>
            <a:solidFill>
              <a:srgbClr val="FDEADA">
                <a:alpha val="45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TH SarabunPSK"/>
                  <a:ea typeface="TH SarabunPSK"/>
                  <a:cs typeface="TH SarabunPSK"/>
                  <a:sym typeface="TH SarabunPSK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endParaRPr>
            </a:p>
          </p:txBody>
        </p:sp>
        <p:sp>
          <p:nvSpPr>
            <p:cNvPr id="543" name="Diamond 39"/>
            <p:cNvSpPr/>
            <p:nvPr/>
          </p:nvSpPr>
          <p:spPr>
            <a:xfrm>
              <a:off x="202838" y="117956"/>
              <a:ext cx="6309038" cy="6308665"/>
            </a:xfrm>
            <a:prstGeom prst="diamond">
              <a:avLst/>
            </a:prstGeom>
            <a:solidFill>
              <a:srgbClr val="FDEAD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TH SarabunPSK"/>
                  <a:ea typeface="TH SarabunPSK"/>
                  <a:cs typeface="TH SarabunPSK"/>
                  <a:sym typeface="TH SarabunPSK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endParaRPr>
            </a:p>
          </p:txBody>
        </p:sp>
        <p:sp>
          <p:nvSpPr>
            <p:cNvPr id="544" name="Diamond 35"/>
            <p:cNvSpPr/>
            <p:nvPr/>
          </p:nvSpPr>
          <p:spPr>
            <a:xfrm>
              <a:off x="4943963" y="1309906"/>
              <a:ext cx="3490920" cy="3490714"/>
            </a:xfrm>
            <a:prstGeom prst="diamond">
              <a:avLst/>
            </a:prstGeom>
            <a:solidFill>
              <a:srgbClr val="EBF1DE">
                <a:alpha val="64999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TH SarabunPSK"/>
                  <a:ea typeface="TH SarabunPSK"/>
                  <a:cs typeface="TH SarabunPSK"/>
                  <a:sym typeface="TH SarabunPSK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endParaRPr>
            </a:p>
          </p:txBody>
        </p:sp>
        <p:grpSp>
          <p:nvGrpSpPr>
            <p:cNvPr id="557" name="Group 42"/>
            <p:cNvGrpSpPr/>
            <p:nvPr/>
          </p:nvGrpSpPr>
          <p:grpSpPr>
            <a:xfrm>
              <a:off x="-1" y="0"/>
              <a:ext cx="7300073" cy="6184705"/>
              <a:chOff x="0" y="0"/>
              <a:chExt cx="7300071" cy="6184704"/>
            </a:xfrm>
          </p:grpSpPr>
          <p:grpSp>
            <p:nvGrpSpPr>
              <p:cNvPr id="555" name="Group 41"/>
              <p:cNvGrpSpPr/>
              <p:nvPr/>
            </p:nvGrpSpPr>
            <p:grpSpPr>
              <a:xfrm>
                <a:off x="0" y="0"/>
                <a:ext cx="7300072" cy="6184705"/>
                <a:chOff x="0" y="0"/>
                <a:chExt cx="7300071" cy="6184704"/>
              </a:xfrm>
            </p:grpSpPr>
            <p:sp>
              <p:nvSpPr>
                <p:cNvPr id="545" name="Diamond 22"/>
                <p:cNvSpPr/>
                <p:nvPr/>
              </p:nvSpPr>
              <p:spPr>
                <a:xfrm>
                  <a:off x="395431" y="1634959"/>
                  <a:ext cx="236835" cy="236821"/>
                </a:xfrm>
                <a:prstGeom prst="diamond">
                  <a:avLst/>
                </a:prstGeom>
                <a:solidFill>
                  <a:srgbClr val="D7E4BD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546" name="Diamond 23"/>
                <p:cNvSpPr/>
                <p:nvPr/>
              </p:nvSpPr>
              <p:spPr>
                <a:xfrm>
                  <a:off x="826220" y="1922995"/>
                  <a:ext cx="378834" cy="378811"/>
                </a:xfrm>
                <a:prstGeom prst="diamond">
                  <a:avLst/>
                </a:prstGeom>
                <a:solidFill>
                  <a:srgbClr val="D9D9D9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547" name="Diamond 24"/>
                <p:cNvSpPr/>
                <p:nvPr/>
              </p:nvSpPr>
              <p:spPr>
                <a:xfrm>
                  <a:off x="1406496" y="277934"/>
                  <a:ext cx="1131356" cy="1131289"/>
                </a:xfrm>
                <a:prstGeom prst="diamond">
                  <a:avLst/>
                </a:prstGeom>
                <a:solidFill>
                  <a:srgbClr val="99CC0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548" name="Diamond 25"/>
                <p:cNvSpPr/>
                <p:nvPr/>
              </p:nvSpPr>
              <p:spPr>
                <a:xfrm>
                  <a:off x="64356" y="184386"/>
                  <a:ext cx="1738712" cy="1738609"/>
                </a:xfrm>
                <a:prstGeom prst="diamond">
                  <a:avLst/>
                </a:prstGeom>
                <a:solidFill>
                  <a:srgbClr val="D9D9D9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549" name="Diamond 26"/>
                <p:cNvSpPr/>
                <p:nvPr/>
              </p:nvSpPr>
              <p:spPr>
                <a:xfrm>
                  <a:off x="0" y="177685"/>
                  <a:ext cx="2648992" cy="2648836"/>
                </a:xfrm>
                <a:prstGeom prst="diamond">
                  <a:avLst/>
                </a:prstGeom>
                <a:blipFill rotWithShape="1">
                  <a:blip r:embed="rId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550" name="Diamond 27"/>
                <p:cNvSpPr/>
                <p:nvPr/>
              </p:nvSpPr>
              <p:spPr>
                <a:xfrm>
                  <a:off x="6080202" y="4090944"/>
                  <a:ext cx="1219870" cy="1165596"/>
                </a:xfrm>
                <a:prstGeom prst="diamond">
                  <a:avLst/>
                </a:prstGeom>
                <a:blipFill rotWithShape="1"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551" name="Diamond 28"/>
                <p:cNvSpPr/>
                <p:nvPr/>
              </p:nvSpPr>
              <p:spPr>
                <a:xfrm>
                  <a:off x="6008567" y="5167252"/>
                  <a:ext cx="1070701" cy="1017453"/>
                </a:xfrm>
                <a:prstGeom prst="diamond">
                  <a:avLst/>
                </a:prstGeom>
                <a:blipFill rotWithShape="1">
                  <a:blip r:embed="rId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552" name="Diamond 29"/>
                <p:cNvSpPr/>
                <p:nvPr/>
              </p:nvSpPr>
              <p:spPr>
                <a:xfrm>
                  <a:off x="334655" y="1785752"/>
                  <a:ext cx="696633" cy="661990"/>
                </a:xfrm>
                <a:prstGeom prst="diamond">
                  <a:avLst/>
                </a:prstGeom>
                <a:blipFill rotWithShape="1">
                  <a:blip r:embed="rId5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553" name="Diamond 30"/>
                <p:cNvSpPr/>
                <p:nvPr/>
              </p:nvSpPr>
              <p:spPr>
                <a:xfrm>
                  <a:off x="2488492" y="184386"/>
                  <a:ext cx="498713" cy="473912"/>
                </a:xfrm>
                <a:prstGeom prst="diamond">
                  <a:avLst/>
                </a:prstGeom>
                <a:blipFill rotWithShape="1">
                  <a:blip r:embed="rId6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554" name="Diamond 31"/>
                <p:cNvSpPr/>
                <p:nvPr/>
              </p:nvSpPr>
              <p:spPr>
                <a:xfrm>
                  <a:off x="2270160" y="0"/>
                  <a:ext cx="378833" cy="378811"/>
                </a:xfrm>
                <a:prstGeom prst="diamond">
                  <a:avLst/>
                </a:prstGeom>
                <a:solidFill>
                  <a:srgbClr val="D9D9D9">
                    <a:alpha val="49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</p:grpSp>
          <p:sp>
            <p:nvSpPr>
              <p:cNvPr id="556" name="Diamond 20"/>
              <p:cNvSpPr/>
              <p:nvPr/>
            </p:nvSpPr>
            <p:spPr>
              <a:xfrm>
                <a:off x="1470878" y="1982076"/>
                <a:ext cx="378833" cy="378811"/>
              </a:xfrm>
              <a:prstGeom prst="diamond">
                <a:avLst/>
              </a:prstGeom>
              <a:solidFill>
                <a:srgbClr val="C3D69B">
                  <a:alpha val="49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</p:grpSp>
        <p:sp>
          <p:nvSpPr>
            <p:cNvPr id="558" name="Diamond 36"/>
            <p:cNvSpPr/>
            <p:nvPr/>
          </p:nvSpPr>
          <p:spPr>
            <a:xfrm>
              <a:off x="4444323" y="3148129"/>
              <a:ext cx="2245100" cy="2244968"/>
            </a:xfrm>
            <a:prstGeom prst="diamond">
              <a:avLst/>
            </a:prstGeom>
            <a:solidFill>
              <a:srgbClr val="FFFFFF">
                <a:alpha val="52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TH SarabunPSK"/>
                  <a:ea typeface="TH SarabunPSK"/>
                  <a:cs typeface="TH SarabunPSK"/>
                  <a:sym typeface="TH SarabunPSK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endParaRPr>
            </a:p>
          </p:txBody>
        </p:sp>
      </p:grpSp>
      <p:pic>
        <p:nvPicPr>
          <p:cNvPr id="560" name="Picture 9" descr="Pictur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9894" y="116632"/>
            <a:ext cx="4075231" cy="1136709"/>
          </a:xfrm>
          <a:prstGeom prst="rect">
            <a:avLst/>
          </a:prstGeom>
          <a:ln w="12700">
            <a:miter lim="400000"/>
          </a:ln>
        </p:spPr>
      </p:pic>
      <p:sp>
        <p:nvSpPr>
          <p:cNvPr id="56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419600" y="6172200"/>
            <a:ext cx="2133600" cy="36830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63639444"/>
      </p:ext>
    </p:extLst>
  </p:cSld>
  <p:clrMapOvr>
    <a:masterClrMapping/>
  </p:clrMapOvr>
  <p:transition spd="med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8420" y="6453472"/>
            <a:ext cx="514268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l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569" name="Diamond 40"/>
          <p:cNvSpPr/>
          <p:nvPr/>
        </p:nvSpPr>
        <p:spPr>
          <a:xfrm>
            <a:off x="484379" y="3521500"/>
            <a:ext cx="3135826" cy="3135640"/>
          </a:xfrm>
          <a:prstGeom prst="diamond">
            <a:avLst/>
          </a:prstGeom>
          <a:solidFill>
            <a:srgbClr val="FDEADA">
              <a:alpha val="45000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570" name="Diamond 39"/>
          <p:cNvSpPr/>
          <p:nvPr/>
        </p:nvSpPr>
        <p:spPr>
          <a:xfrm>
            <a:off x="516420" y="360694"/>
            <a:ext cx="6309038" cy="6308666"/>
          </a:xfrm>
          <a:prstGeom prst="diamond">
            <a:avLst/>
          </a:prstGeom>
          <a:solidFill>
            <a:schemeClr val="accent6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571" name="Diamond 35"/>
          <p:cNvSpPr/>
          <p:nvPr/>
        </p:nvSpPr>
        <p:spPr>
          <a:xfrm>
            <a:off x="5257544" y="1552646"/>
            <a:ext cx="3490921" cy="3490713"/>
          </a:xfrm>
          <a:prstGeom prst="diamond">
            <a:avLst/>
          </a:prstGeom>
          <a:solidFill>
            <a:srgbClr val="EBF1DE">
              <a:alpha val="64999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572" name="Diamond 25"/>
          <p:cNvSpPr/>
          <p:nvPr/>
        </p:nvSpPr>
        <p:spPr>
          <a:xfrm>
            <a:off x="377938" y="427126"/>
            <a:ext cx="1738712" cy="1738609"/>
          </a:xfrm>
          <a:prstGeom prst="diamond">
            <a:avLst/>
          </a:prstGeom>
          <a:solidFill>
            <a:srgbClr val="D9D9D9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573" name="Diamond 36"/>
          <p:cNvSpPr/>
          <p:nvPr/>
        </p:nvSpPr>
        <p:spPr>
          <a:xfrm>
            <a:off x="4757906" y="3390868"/>
            <a:ext cx="2245100" cy="2244968"/>
          </a:xfrm>
          <a:prstGeom prst="diamond">
            <a:avLst/>
          </a:prstGeom>
          <a:solidFill>
            <a:srgbClr val="FFFFFF">
              <a:alpha val="52000"/>
            </a:srgbClr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pic>
        <p:nvPicPr>
          <p:cNvPr id="574" name="Picture 9" descr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6901" y="108666"/>
            <a:ext cx="1807099" cy="50405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60881833"/>
      </p:ext>
    </p:extLst>
  </p:cSld>
  <p:clrMapOvr>
    <a:masterClrMapping/>
  </p:clrMapOvr>
  <p:transition spd="med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1" name="Title Text"/>
          <p:cNvSpPr txBox="1">
            <a:spLocks noGrp="1"/>
          </p:cNvSpPr>
          <p:nvPr>
            <p:ph type="title"/>
          </p:nvPr>
        </p:nvSpPr>
        <p:spPr>
          <a:xfrm>
            <a:off x="6630009" y="275355"/>
            <a:ext cx="2057198" cy="5850520"/>
          </a:xfrm>
          <a:prstGeom prst="rect">
            <a:avLst/>
          </a:prstGeom>
        </p:spPr>
        <p:txBody>
          <a:bodyPr lIns="46648" tIns="46648" rIns="46648" bIns="46648" anchor="ctr">
            <a:normAutofit/>
          </a:bodyPr>
          <a:lstStyle>
            <a:lvl1pPr algn="ctr" defTabSz="932962">
              <a:tabLst/>
              <a:defRPr sz="4500" b="0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r>
              <a:t>Title Text</a:t>
            </a:r>
          </a:p>
        </p:txBody>
      </p:sp>
      <p:sp>
        <p:nvSpPr>
          <p:cNvPr id="582" name="Body Level One…"/>
          <p:cNvSpPr txBox="1">
            <a:spLocks noGrp="1"/>
          </p:cNvSpPr>
          <p:nvPr>
            <p:ph type="body" idx="1"/>
          </p:nvPr>
        </p:nvSpPr>
        <p:spPr>
          <a:xfrm>
            <a:off x="456794" y="275355"/>
            <a:ext cx="6017709" cy="5850520"/>
          </a:xfrm>
          <a:prstGeom prst="rect">
            <a:avLst/>
          </a:prstGeom>
        </p:spPr>
        <p:txBody>
          <a:bodyPr lIns="46648" tIns="46648" rIns="46648" bIns="46648">
            <a:normAutofit/>
          </a:bodyPr>
          <a:lstStyle>
            <a:lvl1pPr marL="349861" indent="-349861" defTabSz="932962">
              <a:spcBef>
                <a:spcPts val="700"/>
              </a:spcBef>
              <a:buClrTx/>
              <a:buFont typeface="Arial"/>
              <a:defRPr sz="3300">
                <a:latin typeface="TH SarabunPSK"/>
                <a:ea typeface="TH SarabunPSK"/>
                <a:cs typeface="TH SarabunPSK"/>
                <a:sym typeface="TH SarabunPSK"/>
              </a:defRPr>
            </a:lvl1pPr>
            <a:lvl2pPr marL="798245" indent="-331764" defTabSz="932962">
              <a:spcBef>
                <a:spcPts val="700"/>
              </a:spcBef>
              <a:buClrTx/>
              <a:buSzPct val="100000"/>
              <a:buFont typeface="Arial"/>
              <a:buChar char="–"/>
              <a:defRPr sz="3300">
                <a:latin typeface="TH SarabunPSK"/>
                <a:ea typeface="TH SarabunPSK"/>
                <a:cs typeface="TH SarabunPSK"/>
                <a:sym typeface="TH SarabunPSK"/>
              </a:defRPr>
            </a:lvl2pPr>
            <a:lvl3pPr marL="1253668" indent="-320706" defTabSz="932962">
              <a:spcBef>
                <a:spcPts val="700"/>
              </a:spcBef>
              <a:buClrTx/>
              <a:buSzPct val="100000"/>
              <a:buFont typeface="Arial"/>
              <a:buChar char="•"/>
              <a:defRPr sz="3300">
                <a:latin typeface="TH SarabunPSK"/>
                <a:ea typeface="TH SarabunPSK"/>
                <a:cs typeface="TH SarabunPSK"/>
                <a:sym typeface="TH SarabunPSK"/>
              </a:defRPr>
            </a:lvl3pPr>
            <a:lvl4pPr marL="1784290" indent="-384847" defTabSz="932962">
              <a:spcBef>
                <a:spcPts val="700"/>
              </a:spcBef>
              <a:buClrTx/>
              <a:buSzPct val="100000"/>
              <a:buFont typeface="Arial"/>
              <a:buChar char="–"/>
              <a:defRPr sz="3300">
                <a:latin typeface="TH SarabunPSK"/>
                <a:ea typeface="TH SarabunPSK"/>
                <a:cs typeface="TH SarabunPSK"/>
                <a:sym typeface="TH SarabunPSK"/>
              </a:defRPr>
            </a:lvl4pPr>
            <a:lvl5pPr marL="2250771" indent="-384847" defTabSz="932962">
              <a:spcBef>
                <a:spcPts val="700"/>
              </a:spcBef>
              <a:buClrTx/>
              <a:buSzPct val="100000"/>
              <a:buFont typeface="Arial"/>
              <a:buChar char="»"/>
              <a:defRPr sz="3300">
                <a:latin typeface="TH SarabunPSK"/>
                <a:ea typeface="TH SarabunPSK"/>
                <a:cs typeface="TH SarabunPSK"/>
                <a:sym typeface="TH SarabunPSK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8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8420" y="6453472"/>
            <a:ext cx="514268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l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</p:spTree>
    <p:extLst>
      <p:ext uri="{BB962C8B-B14F-4D97-AF65-F5344CB8AC3E}">
        <p14:creationId xmlns:p14="http://schemas.microsoft.com/office/powerpoint/2010/main" val="3594221200"/>
      </p:ext>
    </p:extLst>
  </p:cSld>
  <p:clrMapOvr>
    <a:masterClrMapping/>
  </p:clrMapOvr>
  <p:transition spd="med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0" name="Title Text"/>
          <p:cNvSpPr txBox="1">
            <a:spLocks noGrp="1"/>
          </p:cNvSpPr>
          <p:nvPr>
            <p:ph type="title"/>
          </p:nvPr>
        </p:nvSpPr>
        <p:spPr>
          <a:xfrm>
            <a:off x="685800" y="1122362"/>
            <a:ext cx="7772400" cy="2387601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>
            <a:lvl1pPr algn="ctr" defTabSz="914400">
              <a:lnSpc>
                <a:spcPct val="90000"/>
              </a:lnSpc>
              <a:tabLst/>
              <a:defRPr sz="6000" b="0"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591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143000" y="3602037"/>
            <a:ext cx="6858000" cy="1655763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0" indent="0" algn="ctr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 sz="2400">
                <a:latin typeface="+mj-lt"/>
                <a:ea typeface="+mj-ea"/>
                <a:cs typeface="+mj-cs"/>
                <a:sym typeface="Calibri"/>
              </a:defRPr>
            </a:lvl1pPr>
            <a:lvl2pPr marL="0" indent="457200" algn="ctr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 sz="2400">
                <a:latin typeface="+mj-lt"/>
                <a:ea typeface="+mj-ea"/>
                <a:cs typeface="+mj-cs"/>
                <a:sym typeface="Calibri"/>
              </a:defRPr>
            </a:lvl2pPr>
            <a:lvl3pPr marL="0" indent="914400" algn="ctr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 sz="2400">
                <a:latin typeface="+mj-lt"/>
                <a:ea typeface="+mj-ea"/>
                <a:cs typeface="+mj-cs"/>
                <a:sym typeface="Calibri"/>
              </a:defRPr>
            </a:lvl3pPr>
            <a:lvl4pPr marL="0" indent="1371600" algn="ctr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 sz="2400">
                <a:latin typeface="+mj-lt"/>
                <a:ea typeface="+mj-ea"/>
                <a:cs typeface="+mj-cs"/>
                <a:sym typeface="Calibri"/>
              </a:defRPr>
            </a:lvl4pPr>
            <a:lvl5pPr marL="0" indent="1828800" algn="ctr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 sz="2400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9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25136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 defTabSz="457200"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40357287"/>
      </p:ext>
    </p:extLst>
  </p:cSld>
  <p:clrMapOvr>
    <a:masterClrMapping/>
  </p:clrMapOvr>
  <p:transition spd="med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9" name="Title Text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4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defTabSz="914400">
              <a:lnSpc>
                <a:spcPct val="90000"/>
              </a:lnSpc>
              <a:tabLst/>
              <a:defRPr sz="4400" b="0"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600" name="Body Level One…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ClrTx/>
              <a:buFont typeface="Arial"/>
              <a:defRPr sz="2800">
                <a:latin typeface="+mj-lt"/>
                <a:ea typeface="+mj-ea"/>
                <a:cs typeface="+mj-cs"/>
                <a:sym typeface="Calibri"/>
              </a:defRPr>
            </a:lvl1pPr>
            <a:lvl2pPr marL="723900" indent="-266700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2800">
                <a:latin typeface="+mj-lt"/>
                <a:ea typeface="+mj-ea"/>
                <a:cs typeface="+mj-cs"/>
                <a:sym typeface="Calibri"/>
              </a:defRPr>
            </a:lvl2pPr>
            <a:lvl3pPr marL="1234439" indent="-320039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2800">
                <a:latin typeface="+mj-lt"/>
                <a:ea typeface="+mj-ea"/>
                <a:cs typeface="+mj-cs"/>
                <a:sym typeface="Calibri"/>
              </a:defRPr>
            </a:lvl3pPr>
            <a:lvl4pPr marL="1727200" indent="-355600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2800">
                <a:latin typeface="+mj-lt"/>
                <a:ea typeface="+mj-ea"/>
                <a:cs typeface="+mj-cs"/>
                <a:sym typeface="Calibri"/>
              </a:defRPr>
            </a:lvl4pPr>
            <a:lvl5pPr marL="2184400" indent="-355600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2800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0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25136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 defTabSz="457200"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17943161"/>
      </p:ext>
    </p:extLst>
  </p:cSld>
  <p:clrMapOvr>
    <a:masterClrMapping/>
  </p:clrMapOvr>
  <p:transition spd="med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8" name="Title Text"/>
          <p:cNvSpPr txBox="1">
            <a:spLocks noGrp="1"/>
          </p:cNvSpPr>
          <p:nvPr>
            <p:ph type="title"/>
          </p:nvPr>
        </p:nvSpPr>
        <p:spPr>
          <a:xfrm>
            <a:off x="623887" y="1709739"/>
            <a:ext cx="7886701" cy="2852737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>
            <a:lvl1pPr defTabSz="914400">
              <a:lnSpc>
                <a:spcPct val="90000"/>
              </a:lnSpc>
              <a:tabLst/>
              <a:defRPr sz="6000" b="0"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60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23887" y="4589464"/>
            <a:ext cx="7886701" cy="1500188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0" indent="0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 sz="2400">
                <a:latin typeface="+mj-lt"/>
                <a:ea typeface="+mj-ea"/>
                <a:cs typeface="+mj-cs"/>
                <a:sym typeface="Calibri"/>
              </a:defRPr>
            </a:lvl1pPr>
            <a:lvl2pPr marL="0" indent="457200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 sz="2400">
                <a:latin typeface="+mj-lt"/>
                <a:ea typeface="+mj-ea"/>
                <a:cs typeface="+mj-cs"/>
                <a:sym typeface="Calibri"/>
              </a:defRPr>
            </a:lvl2pPr>
            <a:lvl3pPr marL="0" indent="914400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 sz="2400">
                <a:latin typeface="+mj-lt"/>
                <a:ea typeface="+mj-ea"/>
                <a:cs typeface="+mj-cs"/>
                <a:sym typeface="Calibri"/>
              </a:defRPr>
            </a:lvl3pPr>
            <a:lvl4pPr marL="0" indent="1371600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 sz="2400">
                <a:latin typeface="+mj-lt"/>
                <a:ea typeface="+mj-ea"/>
                <a:cs typeface="+mj-cs"/>
                <a:sym typeface="Calibri"/>
              </a:defRPr>
            </a:lvl4pPr>
            <a:lvl5pPr marL="0" indent="1828800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 sz="2400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1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25136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 defTabSz="457200"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29974638"/>
      </p:ext>
    </p:extLst>
  </p:cSld>
  <p:clrMapOvr>
    <a:masterClrMapping/>
  </p:clrMapOvr>
  <p:transition spd="med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6" name="Title Text"/>
          <p:cNvSpPr txBox="1">
            <a:spLocks noGrp="1"/>
          </p:cNvSpPr>
          <p:nvPr>
            <p:ph type="title"/>
          </p:nvPr>
        </p:nvSpPr>
        <p:spPr>
          <a:xfrm>
            <a:off x="629841" y="365125"/>
            <a:ext cx="7886701" cy="1325564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defTabSz="914400">
              <a:lnSpc>
                <a:spcPct val="90000"/>
              </a:lnSpc>
              <a:tabLst/>
              <a:defRPr sz="4400" b="0"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627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29841" y="1681163"/>
            <a:ext cx="3868341" cy="823913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>
            <a:lvl1pPr marL="0" indent="0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 sz="2400" b="1">
                <a:latin typeface="+mj-lt"/>
                <a:ea typeface="+mj-ea"/>
                <a:cs typeface="+mj-cs"/>
                <a:sym typeface="Calibri"/>
              </a:defRPr>
            </a:lvl1pPr>
            <a:lvl2pPr marL="0" indent="457200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 sz="2400" b="1">
                <a:latin typeface="+mj-lt"/>
                <a:ea typeface="+mj-ea"/>
                <a:cs typeface="+mj-cs"/>
                <a:sym typeface="Calibri"/>
              </a:defRPr>
            </a:lvl2pPr>
            <a:lvl3pPr marL="0" indent="914400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 sz="2400" b="1">
                <a:latin typeface="+mj-lt"/>
                <a:ea typeface="+mj-ea"/>
                <a:cs typeface="+mj-cs"/>
                <a:sym typeface="Calibri"/>
              </a:defRPr>
            </a:lvl3pPr>
            <a:lvl4pPr marL="0" indent="1371600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 sz="2400" b="1">
                <a:latin typeface="+mj-lt"/>
                <a:ea typeface="+mj-ea"/>
                <a:cs typeface="+mj-cs"/>
                <a:sym typeface="Calibri"/>
              </a:defRPr>
            </a:lvl4pPr>
            <a:lvl5pPr marL="0" indent="1828800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 sz="2400" b="1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28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29150" y="1681163"/>
            <a:ext cx="3887392" cy="823913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/>
          <a:p>
            <a:pPr marL="0" indent="0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 sz="2400" b="1">
                <a:latin typeface="+mj-lt"/>
                <a:ea typeface="+mj-ea"/>
                <a:cs typeface="+mj-cs"/>
                <a:sym typeface="Calibri"/>
              </a:defRPr>
            </a:pPr>
            <a:endParaRPr/>
          </a:p>
        </p:txBody>
      </p:sp>
      <p:sp>
        <p:nvSpPr>
          <p:cNvPr id="62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25136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 defTabSz="457200"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515383641"/>
      </p:ext>
    </p:extLst>
  </p:cSld>
  <p:clrMapOvr>
    <a:masterClrMapping/>
  </p:clrMapOvr>
  <p:transition spd="med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6" name="Title Text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4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defTabSz="914400">
              <a:lnSpc>
                <a:spcPct val="90000"/>
              </a:lnSpc>
              <a:tabLst/>
              <a:defRPr sz="4400" b="0"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63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25136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 defTabSz="457200"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49832005"/>
      </p:ext>
    </p:extLst>
  </p:cSld>
  <p:clrMapOvr>
    <a:masterClrMapping/>
  </p:clrMapOvr>
  <p:transition spd="med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25136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 defTabSz="457200"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73351597"/>
      </p:ext>
    </p:extLst>
  </p:cSld>
  <p:clrMapOvr>
    <a:masterClrMapping/>
  </p:clrMapOvr>
  <p:transition spd="med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1" name="Title Text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>
            <a:lvl1pPr defTabSz="914400">
              <a:lnSpc>
                <a:spcPct val="90000"/>
              </a:lnSpc>
              <a:tabLst/>
              <a:defRPr sz="3200" b="0"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652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3887391" y="987425"/>
            <a:ext cx="4629151" cy="4873626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ClrTx/>
              <a:buFont typeface="Arial"/>
              <a:defRPr sz="3200">
                <a:latin typeface="+mj-lt"/>
                <a:ea typeface="+mj-ea"/>
                <a:cs typeface="+mj-cs"/>
                <a:sym typeface="Calibri"/>
              </a:defRPr>
            </a:lvl1pPr>
            <a:lvl2pPr marL="718457" indent="-261257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3200">
                <a:latin typeface="+mj-lt"/>
                <a:ea typeface="+mj-ea"/>
                <a:cs typeface="+mj-cs"/>
                <a:sym typeface="Calibri"/>
              </a:defRPr>
            </a:lvl2pPr>
            <a:lvl3pPr marL="1219200" indent="-304800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3200">
                <a:latin typeface="+mj-lt"/>
                <a:ea typeface="+mj-ea"/>
                <a:cs typeface="+mj-cs"/>
                <a:sym typeface="Calibri"/>
              </a:defRPr>
            </a:lvl3pPr>
            <a:lvl4pPr marL="1737360" indent="-365760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3200">
                <a:latin typeface="+mj-lt"/>
                <a:ea typeface="+mj-ea"/>
                <a:cs typeface="+mj-cs"/>
                <a:sym typeface="Calibri"/>
              </a:defRPr>
            </a:lvl4pPr>
            <a:lvl5pPr marL="2194560" indent="-365760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3200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53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629840" y="2057400"/>
            <a:ext cx="2949180" cy="3811588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/>
          <a:p>
            <a:pPr marL="0" indent="0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>
                <a:latin typeface="+mj-lt"/>
                <a:ea typeface="+mj-ea"/>
                <a:cs typeface="+mj-cs"/>
                <a:sym typeface="Calibri"/>
              </a:defRPr>
            </a:pPr>
            <a:endParaRPr/>
          </a:p>
        </p:txBody>
      </p:sp>
      <p:sp>
        <p:nvSpPr>
          <p:cNvPr id="65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25136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 defTabSz="457200"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62333336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" name="Title Text"/>
          <p:cNvSpPr txBox="1">
            <a:spLocks noGrp="1"/>
          </p:cNvSpPr>
          <p:nvPr>
            <p:ph type="title"/>
          </p:nvPr>
        </p:nvSpPr>
        <p:spPr>
          <a:xfrm>
            <a:off x="3195946" y="2304899"/>
            <a:ext cx="5500979" cy="1470729"/>
          </a:xfrm>
          <a:prstGeom prst="rect">
            <a:avLst/>
          </a:prstGeom>
        </p:spPr>
        <p:txBody>
          <a:bodyPr lIns="46648" tIns="46648" rIns="46648" bIns="46648" anchor="ctr">
            <a:normAutofit/>
          </a:bodyPr>
          <a:lstStyle>
            <a:lvl1pPr algn="ctr" defTabSz="932962">
              <a:tabLst/>
              <a:defRPr sz="4500" b="0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r>
              <a:t>Title Text</a:t>
            </a:r>
          </a:p>
        </p:txBody>
      </p:sp>
      <p:sp>
        <p:nvSpPr>
          <p:cNvPr id="8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372006" y="3885769"/>
            <a:ext cx="6399990" cy="1752564"/>
          </a:xfrm>
          <a:prstGeom prst="rect">
            <a:avLst/>
          </a:prstGeom>
        </p:spPr>
        <p:txBody>
          <a:bodyPr lIns="46648" tIns="46648" rIns="46648" bIns="46648">
            <a:normAutofit/>
          </a:bodyPr>
          <a:lstStyle>
            <a:lvl1pPr marL="0" indent="0" algn="ctr" defTabSz="932962">
              <a:spcBef>
                <a:spcPts val="700"/>
              </a:spcBef>
              <a:buClrTx/>
              <a:buSzTx/>
              <a:buNone/>
              <a:defRPr sz="3300">
                <a:solidFill>
                  <a:srgbClr val="888888"/>
                </a:solidFill>
                <a:latin typeface="TH SarabunPSK"/>
                <a:ea typeface="TH SarabunPSK"/>
                <a:cs typeface="TH SarabunPSK"/>
                <a:sym typeface="TH SarabunPSK"/>
              </a:defRPr>
            </a:lvl1pPr>
            <a:lvl2pPr marL="0" indent="466430" algn="ctr" defTabSz="932962">
              <a:spcBef>
                <a:spcPts val="700"/>
              </a:spcBef>
              <a:buClrTx/>
              <a:buSzTx/>
              <a:buNone/>
              <a:defRPr sz="3300">
                <a:solidFill>
                  <a:srgbClr val="888888"/>
                </a:solidFill>
                <a:latin typeface="TH SarabunPSK"/>
                <a:ea typeface="TH SarabunPSK"/>
                <a:cs typeface="TH SarabunPSK"/>
                <a:sym typeface="TH SarabunPSK"/>
              </a:defRPr>
            </a:lvl2pPr>
            <a:lvl3pPr marL="0" indent="932863" algn="ctr" defTabSz="932962">
              <a:spcBef>
                <a:spcPts val="700"/>
              </a:spcBef>
              <a:buClrTx/>
              <a:buSzTx/>
              <a:buNone/>
              <a:defRPr sz="3300">
                <a:solidFill>
                  <a:srgbClr val="888888"/>
                </a:solidFill>
                <a:latin typeface="TH SarabunPSK"/>
                <a:ea typeface="TH SarabunPSK"/>
                <a:cs typeface="TH SarabunPSK"/>
                <a:sym typeface="TH SarabunPSK"/>
              </a:defRPr>
            </a:lvl3pPr>
            <a:lvl4pPr marL="0" indent="1399295" algn="ctr" defTabSz="932962">
              <a:spcBef>
                <a:spcPts val="700"/>
              </a:spcBef>
              <a:buClrTx/>
              <a:buSzTx/>
              <a:buNone/>
              <a:defRPr sz="3300">
                <a:solidFill>
                  <a:srgbClr val="888888"/>
                </a:solidFill>
                <a:latin typeface="TH SarabunPSK"/>
                <a:ea typeface="TH SarabunPSK"/>
                <a:cs typeface="TH SarabunPSK"/>
                <a:sym typeface="TH SarabunPSK"/>
              </a:defRPr>
            </a:lvl4pPr>
            <a:lvl5pPr marL="0" indent="1865727" algn="ctr" defTabSz="932962">
              <a:spcBef>
                <a:spcPts val="700"/>
              </a:spcBef>
              <a:buClrTx/>
              <a:buSzTx/>
              <a:buNone/>
              <a:defRPr sz="3300">
                <a:solidFill>
                  <a:srgbClr val="888888"/>
                </a:solidFill>
                <a:latin typeface="TH SarabunPSK"/>
                <a:ea typeface="TH SarabunPSK"/>
                <a:cs typeface="TH SarabunPSK"/>
                <a:sym typeface="TH SarabunPSK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11072" y="6456359"/>
            <a:ext cx="513491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l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84" name="Straight Connector 7"/>
          <p:cNvSpPr/>
          <p:nvPr/>
        </p:nvSpPr>
        <p:spPr>
          <a:xfrm>
            <a:off x="714993" y="6025450"/>
            <a:ext cx="7714014" cy="1"/>
          </a:xfrm>
          <a:prstGeom prst="line">
            <a:avLst/>
          </a:prstGeom>
          <a:ln w="38100">
            <a:solidFill>
              <a:srgbClr val="A6A6A6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85" name="Picture 9" descr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9554" y="64120"/>
            <a:ext cx="2975571" cy="829979"/>
          </a:xfrm>
          <a:prstGeom prst="rect">
            <a:avLst/>
          </a:prstGeom>
          <a:ln w="12700">
            <a:miter lim="400000"/>
          </a:ln>
        </p:spPr>
      </p:pic>
      <p:grpSp>
        <p:nvGrpSpPr>
          <p:cNvPr id="99" name="Group 11"/>
          <p:cNvGrpSpPr/>
          <p:nvPr/>
        </p:nvGrpSpPr>
        <p:grpSpPr>
          <a:xfrm>
            <a:off x="-4860" y="-4858"/>
            <a:ext cx="5019636" cy="5048749"/>
            <a:chOff x="0" y="0"/>
            <a:chExt cx="5019634" cy="5048747"/>
          </a:xfrm>
        </p:grpSpPr>
        <p:grpSp>
          <p:nvGrpSpPr>
            <p:cNvPr id="97" name="Group 10"/>
            <p:cNvGrpSpPr/>
            <p:nvPr/>
          </p:nvGrpSpPr>
          <p:grpSpPr>
            <a:xfrm>
              <a:off x="-1" y="-1"/>
              <a:ext cx="5019636" cy="5048749"/>
              <a:chOff x="0" y="0"/>
              <a:chExt cx="5019634" cy="5048747"/>
            </a:xfrm>
          </p:grpSpPr>
          <p:sp>
            <p:nvSpPr>
              <p:cNvPr id="86" name="Right Triangle 8"/>
              <p:cNvSpPr/>
              <p:nvPr/>
            </p:nvSpPr>
            <p:spPr>
              <a:xfrm rot="5400000">
                <a:off x="-14557" y="14556"/>
                <a:ext cx="5048748" cy="501963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0" y="21600"/>
                    </a:moveTo>
                    <a:lnTo>
                      <a:pt x="21600" y="21600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FF0300"/>
                  </a:gs>
                  <a:gs pos="48000">
                    <a:srgbClr val="FF7A00"/>
                  </a:gs>
                  <a:gs pos="100000">
                    <a:srgbClr val="FFF200"/>
                  </a:gs>
                </a:gsLst>
                <a:lin ang="18900000" scaled="0"/>
              </a:gra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87" name="Diamond 22"/>
              <p:cNvSpPr/>
              <p:nvPr/>
            </p:nvSpPr>
            <p:spPr>
              <a:xfrm>
                <a:off x="687120" y="2553041"/>
                <a:ext cx="357662" cy="357640"/>
              </a:xfrm>
              <a:prstGeom prst="diamond">
                <a:avLst/>
              </a:prstGeom>
              <a:solidFill>
                <a:srgbClr val="D7E4BD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88" name="Diamond 21"/>
              <p:cNvSpPr/>
              <p:nvPr/>
            </p:nvSpPr>
            <p:spPr>
              <a:xfrm>
                <a:off x="1337688" y="2988027"/>
                <a:ext cx="572105" cy="572071"/>
              </a:xfrm>
              <a:prstGeom prst="diamond">
                <a:avLst/>
              </a:prstGeom>
              <a:solidFill>
                <a:srgbClr val="D9D9D9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89" name="Diamond 20"/>
              <p:cNvSpPr/>
              <p:nvPr/>
            </p:nvSpPr>
            <p:spPr>
              <a:xfrm>
                <a:off x="3210522" y="1532684"/>
                <a:ext cx="693294" cy="693253"/>
              </a:xfrm>
              <a:prstGeom prst="diamond">
                <a:avLst/>
              </a:prstGeom>
              <a:solidFill>
                <a:srgbClr val="99CC00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90" name="Diamond 17"/>
              <p:cNvSpPr/>
              <p:nvPr/>
            </p:nvSpPr>
            <p:spPr>
              <a:xfrm>
                <a:off x="187138" y="362419"/>
                <a:ext cx="2625763" cy="2625608"/>
              </a:xfrm>
              <a:prstGeom prst="diamond">
                <a:avLst/>
              </a:prstGeom>
              <a:solidFill>
                <a:srgbClr val="D9D9D9"/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91" name="Diamond 12"/>
              <p:cNvSpPr/>
              <p:nvPr/>
            </p:nvSpPr>
            <p:spPr>
              <a:xfrm>
                <a:off x="89947" y="352300"/>
                <a:ext cx="2625763" cy="2625608"/>
              </a:xfrm>
              <a:prstGeom prst="diamond">
                <a:avLst/>
              </a:prstGeom>
              <a:blipFill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 cap="flat">
                <a:noFill/>
                <a:miter lim="400000"/>
              </a:ln>
              <a:effectLst>
                <a:outerShdw blurRad="50800" dist="38100" dir="2700000" rotWithShape="0">
                  <a:srgbClr val="000000">
                    <a:alpha val="40000"/>
                  </a:srgbClr>
                </a:outerShdw>
              </a:effectLst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92" name="Diamond 14"/>
              <p:cNvSpPr/>
              <p:nvPr/>
            </p:nvSpPr>
            <p:spPr>
              <a:xfrm>
                <a:off x="2158900" y="80182"/>
                <a:ext cx="1842220" cy="1760256"/>
              </a:xfrm>
              <a:prstGeom prst="diamond">
                <a:avLst/>
              </a:prstGeom>
              <a:blipFill rotWithShape="1"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 cap="flat">
                <a:noFill/>
                <a:miter lim="400000"/>
              </a:ln>
              <a:effectLst>
                <a:outerShdw blurRad="50800" dist="38100" dir="2700000" rotWithShape="0">
                  <a:srgbClr val="000000">
                    <a:alpha val="40000"/>
                  </a:srgbClr>
                </a:outerShdw>
              </a:effectLst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93" name="Diamond 15"/>
              <p:cNvSpPr/>
              <p:nvPr/>
            </p:nvSpPr>
            <p:spPr>
              <a:xfrm>
                <a:off x="2050718" y="1705598"/>
                <a:ext cx="1616947" cy="1536536"/>
              </a:xfrm>
              <a:prstGeom prst="diamond">
                <a:avLst/>
              </a:prstGeom>
              <a:blipFill rotWithShape="1">
                <a:blip r:embed="rId5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 cap="flat">
                <a:noFill/>
                <a:miter lim="400000"/>
              </a:ln>
              <a:effectLst>
                <a:outerShdw blurRad="50800" dist="38100" dir="2700000" rotWithShape="0">
                  <a:srgbClr val="000000">
                    <a:alpha val="40000"/>
                  </a:srgbClr>
                </a:outerShdw>
              </a:effectLst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94" name="Diamond 18"/>
              <p:cNvSpPr/>
              <p:nvPr/>
            </p:nvSpPr>
            <p:spPr>
              <a:xfrm>
                <a:off x="595337" y="2780765"/>
                <a:ext cx="1052040" cy="999721"/>
              </a:xfrm>
              <a:prstGeom prst="diamond">
                <a:avLst/>
              </a:prstGeom>
              <a:blipFill rotWithShape="1"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 cap="flat">
                <a:noFill/>
                <a:miter lim="400000"/>
              </a:ln>
              <a:effectLst>
                <a:outerShdw blurRad="50800" dist="38100" dir="2700000" rotWithShape="0">
                  <a:srgbClr val="000000">
                    <a:alpha val="40000"/>
                  </a:srgbClr>
                </a:outerShdw>
              </a:effectLst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95" name="Diamond 19"/>
              <p:cNvSpPr/>
              <p:nvPr/>
            </p:nvSpPr>
            <p:spPr>
              <a:xfrm>
                <a:off x="3848012" y="362419"/>
                <a:ext cx="753145" cy="715690"/>
              </a:xfrm>
              <a:prstGeom prst="diamond">
                <a:avLst/>
              </a:prstGeom>
              <a:blipFill rotWithShape="1"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n w="12700" cap="flat">
                <a:noFill/>
                <a:miter lim="400000"/>
              </a:ln>
              <a:effectLst>
                <a:outerShdw blurRad="50800" dist="38100" dir="2700000" rotWithShape="0">
                  <a:srgbClr val="000000">
                    <a:alpha val="40000"/>
                  </a:srgbClr>
                </a:outerShdw>
              </a:effectLst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  <p:sp>
            <p:nvSpPr>
              <p:cNvPr id="96" name="Diamond 23"/>
              <p:cNvSpPr/>
              <p:nvPr/>
            </p:nvSpPr>
            <p:spPr>
              <a:xfrm>
                <a:off x="3518292" y="83962"/>
                <a:ext cx="572105" cy="572071"/>
              </a:xfrm>
              <a:prstGeom prst="diamond">
                <a:avLst/>
              </a:prstGeom>
              <a:solidFill>
                <a:srgbClr val="D9D9D9">
                  <a:alpha val="49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</p:grpSp>
        <p:sp>
          <p:nvSpPr>
            <p:cNvPr id="98" name="Diamond 24"/>
            <p:cNvSpPr/>
            <p:nvPr/>
          </p:nvSpPr>
          <p:spPr>
            <a:xfrm>
              <a:off x="2311235" y="3077250"/>
              <a:ext cx="572105" cy="572072"/>
            </a:xfrm>
            <a:prstGeom prst="diamond">
              <a:avLst/>
            </a:prstGeom>
            <a:solidFill>
              <a:srgbClr val="C3D69B">
                <a:alpha val="49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TH SarabunPSK"/>
                  <a:ea typeface="TH SarabunPSK"/>
                  <a:cs typeface="TH SarabunPSK"/>
                  <a:sym typeface="TH SarabunPSK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78131407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1" name="Title Text"/>
          <p:cNvSpPr txBox="1"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>
            <a:lvl1pPr defTabSz="914400">
              <a:lnSpc>
                <a:spcPct val="90000"/>
              </a:lnSpc>
              <a:tabLst/>
              <a:defRPr sz="3200" b="0"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662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3887391" y="987425"/>
            <a:ext cx="4629151" cy="4873626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66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0" indent="0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>
                <a:latin typeface="+mj-lt"/>
                <a:ea typeface="+mj-ea"/>
                <a:cs typeface="+mj-cs"/>
                <a:sym typeface="Calibri"/>
              </a:defRPr>
            </a:lvl1pPr>
            <a:lvl2pPr marL="0" indent="457200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>
                <a:latin typeface="+mj-lt"/>
                <a:ea typeface="+mj-ea"/>
                <a:cs typeface="+mj-cs"/>
                <a:sym typeface="Calibri"/>
              </a:defRPr>
            </a:lvl2pPr>
            <a:lvl3pPr marL="0" indent="914400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>
                <a:latin typeface="+mj-lt"/>
                <a:ea typeface="+mj-ea"/>
                <a:cs typeface="+mj-cs"/>
                <a:sym typeface="Calibri"/>
              </a:defRPr>
            </a:lvl3pPr>
            <a:lvl4pPr marL="0" indent="1371600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>
                <a:latin typeface="+mj-lt"/>
                <a:ea typeface="+mj-ea"/>
                <a:cs typeface="+mj-cs"/>
                <a:sym typeface="Calibri"/>
              </a:defRPr>
            </a:lvl4pPr>
            <a:lvl5pPr marL="0" indent="1828800" defTabSz="914400">
              <a:lnSpc>
                <a:spcPct val="90000"/>
              </a:lnSpc>
              <a:spcBef>
                <a:spcPts val="1000"/>
              </a:spcBef>
              <a:buClrTx/>
              <a:buSzTx/>
              <a:buNone/>
              <a:defRPr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6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25136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 defTabSz="457200"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27855189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1" name="Title Text"/>
          <p:cNvSpPr txBox="1">
            <a:spLocks noGrp="1"/>
          </p:cNvSpPr>
          <p:nvPr>
            <p:ph type="title"/>
          </p:nvPr>
        </p:nvSpPr>
        <p:spPr>
          <a:xfrm>
            <a:off x="628650" y="365125"/>
            <a:ext cx="7886700" cy="1325564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defTabSz="914400">
              <a:lnSpc>
                <a:spcPct val="90000"/>
              </a:lnSpc>
              <a:tabLst/>
              <a:defRPr sz="4400" b="0"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672" name="Body Level One…"/>
          <p:cNvSpPr txBox="1"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ClrTx/>
              <a:buFont typeface="Arial"/>
              <a:defRPr sz="2800">
                <a:latin typeface="+mj-lt"/>
                <a:ea typeface="+mj-ea"/>
                <a:cs typeface="+mj-cs"/>
                <a:sym typeface="Calibri"/>
              </a:defRPr>
            </a:lvl1pPr>
            <a:lvl2pPr marL="723900" indent="-266700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2800">
                <a:latin typeface="+mj-lt"/>
                <a:ea typeface="+mj-ea"/>
                <a:cs typeface="+mj-cs"/>
                <a:sym typeface="Calibri"/>
              </a:defRPr>
            </a:lvl2pPr>
            <a:lvl3pPr marL="1234439" indent="-320039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2800">
                <a:latin typeface="+mj-lt"/>
                <a:ea typeface="+mj-ea"/>
                <a:cs typeface="+mj-cs"/>
                <a:sym typeface="Calibri"/>
              </a:defRPr>
            </a:lvl3pPr>
            <a:lvl4pPr marL="1727200" indent="-355600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2800">
                <a:latin typeface="+mj-lt"/>
                <a:ea typeface="+mj-ea"/>
                <a:cs typeface="+mj-cs"/>
                <a:sym typeface="Calibri"/>
              </a:defRPr>
            </a:lvl4pPr>
            <a:lvl5pPr marL="2184400" indent="-355600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2800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7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25136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 defTabSz="457200"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07375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0" name="Title Text"/>
          <p:cNvSpPr txBox="1">
            <a:spLocks noGrp="1"/>
          </p:cNvSpPr>
          <p:nvPr>
            <p:ph type="title"/>
          </p:nvPr>
        </p:nvSpPr>
        <p:spPr>
          <a:xfrm>
            <a:off x="6543675" y="365125"/>
            <a:ext cx="1971675" cy="5811838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defTabSz="914400">
              <a:lnSpc>
                <a:spcPct val="90000"/>
              </a:lnSpc>
              <a:tabLst/>
              <a:defRPr sz="4400" b="0">
                <a:latin typeface="Calibri Light"/>
                <a:ea typeface="Calibri Light"/>
                <a:cs typeface="Calibri Light"/>
                <a:sym typeface="Calibri Light"/>
              </a:defRPr>
            </a:lvl1pPr>
          </a:lstStyle>
          <a:p>
            <a:r>
              <a:t>Title Text</a:t>
            </a:r>
          </a:p>
        </p:txBody>
      </p:sp>
      <p:sp>
        <p:nvSpPr>
          <p:cNvPr id="681" name="Body Level One…"/>
          <p:cNvSpPr txBox="1">
            <a:spLocks noGrp="1"/>
          </p:cNvSpPr>
          <p:nvPr>
            <p:ph type="body" idx="1"/>
          </p:nvPr>
        </p:nvSpPr>
        <p:spPr>
          <a:xfrm>
            <a:off x="628650" y="365125"/>
            <a:ext cx="5800725" cy="5811838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228600" indent="-228600" defTabSz="914400">
              <a:lnSpc>
                <a:spcPct val="90000"/>
              </a:lnSpc>
              <a:spcBef>
                <a:spcPts val="1000"/>
              </a:spcBef>
              <a:buClrTx/>
              <a:buFont typeface="Arial"/>
              <a:defRPr sz="2800">
                <a:latin typeface="+mj-lt"/>
                <a:ea typeface="+mj-ea"/>
                <a:cs typeface="+mj-cs"/>
                <a:sym typeface="Calibri"/>
              </a:defRPr>
            </a:lvl1pPr>
            <a:lvl2pPr marL="723900" indent="-266700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2800">
                <a:latin typeface="+mj-lt"/>
                <a:ea typeface="+mj-ea"/>
                <a:cs typeface="+mj-cs"/>
                <a:sym typeface="Calibri"/>
              </a:defRPr>
            </a:lvl2pPr>
            <a:lvl3pPr marL="1234439" indent="-320039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2800">
                <a:latin typeface="+mj-lt"/>
                <a:ea typeface="+mj-ea"/>
                <a:cs typeface="+mj-cs"/>
                <a:sym typeface="Calibri"/>
              </a:defRPr>
            </a:lvl3pPr>
            <a:lvl4pPr marL="1727200" indent="-355600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2800">
                <a:latin typeface="+mj-lt"/>
                <a:ea typeface="+mj-ea"/>
                <a:cs typeface="+mj-cs"/>
                <a:sym typeface="Calibri"/>
              </a:defRPr>
            </a:lvl4pPr>
            <a:lvl5pPr marL="2184400" indent="-355600" defTabSz="914400">
              <a:lnSpc>
                <a:spcPct val="90000"/>
              </a:lnSpc>
              <a:spcBef>
                <a:spcPts val="1000"/>
              </a:spcBef>
              <a:buClrTx/>
              <a:buSzPct val="100000"/>
              <a:buFont typeface="Arial"/>
              <a:buChar char="•"/>
              <a:defRPr sz="2800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8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25136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 defTabSz="457200"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4572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4572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90551104"/>
      </p:ext>
    </p:extLst>
  </p:cSld>
  <p:clrMapOvr>
    <a:masterClrMapping/>
  </p:clrMapOvr>
  <p:transition spd="med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ภาพนิ่งชื่อเรื่อง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9" name="Title Text"/>
          <p:cNvSpPr txBox="1">
            <a:spLocks noGrp="1"/>
          </p:cNvSpPr>
          <p:nvPr>
            <p:ph type="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/>
            </a:lvl1pPr>
          </a:lstStyle>
          <a:p>
            <a:r>
              <a:t>Title Text</a:t>
            </a:r>
          </a:p>
        </p:txBody>
      </p:sp>
      <p:sp>
        <p:nvSpPr>
          <p:cNvPr id="69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0" indent="0" algn="ctr" defTabSz="914400">
              <a:spcBef>
                <a:spcPts val="700"/>
              </a:spcBef>
              <a:buClrTx/>
              <a:buSzTx/>
              <a:buNone/>
              <a:defRPr sz="3200"/>
            </a:lvl1pPr>
            <a:lvl2pPr marL="0" indent="457200" algn="ctr" defTabSz="914400">
              <a:spcBef>
                <a:spcPts val="700"/>
              </a:spcBef>
              <a:buClrTx/>
              <a:buSzTx/>
              <a:buNone/>
              <a:defRPr sz="3200"/>
            </a:lvl2pPr>
            <a:lvl3pPr marL="0" indent="914400" algn="ctr" defTabSz="914400">
              <a:spcBef>
                <a:spcPts val="700"/>
              </a:spcBef>
              <a:buClrTx/>
              <a:buSzTx/>
              <a:buNone/>
              <a:defRPr sz="3200"/>
            </a:lvl3pPr>
            <a:lvl4pPr marL="0" indent="1371600" algn="ctr" defTabSz="914400">
              <a:spcBef>
                <a:spcPts val="700"/>
              </a:spcBef>
              <a:buClrTx/>
              <a:buSzTx/>
              <a:buNone/>
              <a:defRPr sz="3200"/>
            </a:lvl4pPr>
            <a:lvl5pPr marL="0" indent="1828800" algn="ctr" defTabSz="914400">
              <a:spcBef>
                <a:spcPts val="700"/>
              </a:spcBef>
              <a:buClrTx/>
              <a:buSzTx/>
              <a:buNone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69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384892" y="6245225"/>
            <a:ext cx="301909" cy="288824"/>
          </a:xfrm>
          <a:prstGeom prst="rect">
            <a:avLst/>
          </a:prstGeom>
        </p:spPr>
        <p:txBody>
          <a:bodyPr lIns="45719" tIns="45719" rIns="45719" bIns="45719" anchor="t"/>
          <a:lstStyle>
            <a:lvl1pPr>
              <a:defRPr sz="14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25492932"/>
      </p:ext>
    </p:extLst>
  </p:cSld>
  <p:clrMapOvr>
    <a:masterClrMapping/>
  </p:clrMapOvr>
  <p:transition spd="med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ชื่อเรื่องและเนื้อหา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8" name="Title Text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1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/>
            </a:lvl1pPr>
          </a:lstStyle>
          <a:p>
            <a:r>
              <a:t>Title Text</a:t>
            </a:r>
          </a:p>
        </p:txBody>
      </p:sp>
      <p:sp>
        <p:nvSpPr>
          <p:cNvPr id="699" name="Body Level One…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342900" indent="-342900" defTabSz="914400">
              <a:spcBef>
                <a:spcPts val="700"/>
              </a:spcBef>
              <a:buClrTx/>
              <a:defRPr sz="3200"/>
            </a:lvl1pPr>
            <a:lvl2pPr marL="783771" indent="-326571" defTabSz="914400">
              <a:spcBef>
                <a:spcPts val="700"/>
              </a:spcBef>
              <a:buClrTx/>
              <a:buSzPct val="100000"/>
              <a:buChar char="–"/>
              <a:defRPr sz="3200"/>
            </a:lvl2pPr>
            <a:lvl3pPr marL="1219200" indent="-304800" defTabSz="914400">
              <a:spcBef>
                <a:spcPts val="700"/>
              </a:spcBef>
              <a:buClrTx/>
              <a:buSzPct val="100000"/>
              <a:buChar char="•"/>
              <a:defRPr sz="3200"/>
            </a:lvl3pPr>
            <a:lvl4pPr marL="1737360" indent="-365760" defTabSz="914400">
              <a:spcBef>
                <a:spcPts val="700"/>
              </a:spcBef>
              <a:buClrTx/>
              <a:buSzPct val="100000"/>
              <a:buChar char="–"/>
              <a:defRPr sz="3200"/>
            </a:lvl4pPr>
            <a:lvl5pPr marL="2194560" indent="-365760" defTabSz="914400">
              <a:spcBef>
                <a:spcPts val="700"/>
              </a:spcBef>
              <a:buClrTx/>
              <a:buSzPct val="100000"/>
              <a:buChar char="»"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0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384892" y="6245225"/>
            <a:ext cx="301909" cy="288824"/>
          </a:xfrm>
          <a:prstGeom prst="rect">
            <a:avLst/>
          </a:prstGeom>
        </p:spPr>
        <p:txBody>
          <a:bodyPr lIns="45719" tIns="45719" rIns="45719" bIns="45719" anchor="t"/>
          <a:lstStyle>
            <a:lvl1pPr>
              <a:defRPr sz="14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00986349"/>
      </p:ext>
    </p:extLst>
  </p:cSld>
  <p:clrMapOvr>
    <a:masterClrMapping/>
  </p:clrMapOvr>
  <p:transition spd="med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ส่วนหัวของส่วน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7" name="Title Text"/>
          <p:cNvSpPr txBox="1">
            <a:spLocks noGrp="1"/>
          </p:cNvSpPr>
          <p:nvPr>
            <p:ph type="title"/>
          </p:nvPr>
        </p:nvSpPr>
        <p:spPr>
          <a:xfrm>
            <a:off x="722312" y="4406900"/>
            <a:ext cx="7772401" cy="1362075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defTabSz="914400">
              <a:tabLst/>
              <a:defRPr sz="4000" cap="all"/>
            </a:lvl1pPr>
          </a:lstStyle>
          <a:p>
            <a:r>
              <a:t>Title Text</a:t>
            </a:r>
          </a:p>
        </p:txBody>
      </p:sp>
      <p:sp>
        <p:nvSpPr>
          <p:cNvPr id="708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722312" y="2906713"/>
            <a:ext cx="7772401" cy="1500188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>
            <a:lvl1pPr marL="0" indent="0" defTabSz="914400">
              <a:spcBef>
                <a:spcPts val="400"/>
              </a:spcBef>
              <a:buClrTx/>
              <a:buSzTx/>
              <a:buNone/>
              <a:defRPr sz="2000"/>
            </a:lvl1pPr>
            <a:lvl2pPr marL="0" indent="457200" defTabSz="914400">
              <a:spcBef>
                <a:spcPts val="400"/>
              </a:spcBef>
              <a:buClrTx/>
              <a:buSzTx/>
              <a:buNone/>
              <a:defRPr sz="2000"/>
            </a:lvl2pPr>
            <a:lvl3pPr marL="0" indent="914400" defTabSz="914400">
              <a:spcBef>
                <a:spcPts val="400"/>
              </a:spcBef>
              <a:buClrTx/>
              <a:buSzTx/>
              <a:buNone/>
              <a:defRPr sz="2000"/>
            </a:lvl3pPr>
            <a:lvl4pPr marL="0" indent="1371600" defTabSz="914400">
              <a:spcBef>
                <a:spcPts val="400"/>
              </a:spcBef>
              <a:buClrTx/>
              <a:buSzTx/>
              <a:buNone/>
              <a:defRPr sz="2000"/>
            </a:lvl4pPr>
            <a:lvl5pPr marL="0" indent="1828800" defTabSz="914400">
              <a:spcBef>
                <a:spcPts val="400"/>
              </a:spcBef>
              <a:buClrTx/>
              <a:buSzTx/>
              <a:buNone/>
              <a:defRPr sz="20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0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384892" y="6245225"/>
            <a:ext cx="301909" cy="288824"/>
          </a:xfrm>
          <a:prstGeom prst="rect">
            <a:avLst/>
          </a:prstGeom>
        </p:spPr>
        <p:txBody>
          <a:bodyPr lIns="45719" tIns="45719" rIns="45719" bIns="45719" anchor="t"/>
          <a:lstStyle>
            <a:lvl1pPr>
              <a:defRPr sz="14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49854455"/>
      </p:ext>
    </p:extLst>
  </p:cSld>
  <p:clrMapOvr>
    <a:masterClrMapping/>
  </p:clrMapOvr>
  <p:transition spd="med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เนื้อหา 2 ส่วน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" name="Title Text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1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/>
            </a:lvl1pPr>
          </a:lstStyle>
          <a:p>
            <a:r>
              <a:t>Title Text</a:t>
            </a:r>
          </a:p>
        </p:txBody>
      </p:sp>
      <p:sp>
        <p:nvSpPr>
          <p:cNvPr id="717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342900" indent="-342900" defTabSz="914400">
              <a:spcBef>
                <a:spcPts val="600"/>
              </a:spcBef>
              <a:buClrTx/>
              <a:defRPr sz="2800"/>
            </a:lvl1pPr>
            <a:lvl2pPr marL="790575" indent="-333375" defTabSz="914400">
              <a:spcBef>
                <a:spcPts val="600"/>
              </a:spcBef>
              <a:buClrTx/>
              <a:buSzPct val="100000"/>
              <a:buChar char="–"/>
              <a:defRPr sz="2800"/>
            </a:lvl2pPr>
            <a:lvl3pPr marL="1234439" indent="-320039" defTabSz="914400">
              <a:spcBef>
                <a:spcPts val="600"/>
              </a:spcBef>
              <a:buClrTx/>
              <a:buSzPct val="100000"/>
              <a:buChar char="•"/>
              <a:defRPr sz="2800"/>
            </a:lvl3pPr>
            <a:lvl4pPr marL="1727200" indent="-355600" defTabSz="914400">
              <a:spcBef>
                <a:spcPts val="600"/>
              </a:spcBef>
              <a:buClrTx/>
              <a:buSzPct val="100000"/>
              <a:buChar char="–"/>
              <a:defRPr sz="2800"/>
            </a:lvl4pPr>
            <a:lvl5pPr marL="2184400" indent="-355600" defTabSz="914400">
              <a:spcBef>
                <a:spcPts val="600"/>
              </a:spcBef>
              <a:buClrTx/>
              <a:buSzPct val="100000"/>
              <a:buChar char="»"/>
              <a:defRPr sz="28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1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384892" y="6245225"/>
            <a:ext cx="301909" cy="288824"/>
          </a:xfrm>
          <a:prstGeom prst="rect">
            <a:avLst/>
          </a:prstGeom>
        </p:spPr>
        <p:txBody>
          <a:bodyPr lIns="45719" tIns="45719" rIns="45719" bIns="45719" anchor="t"/>
          <a:lstStyle>
            <a:lvl1pPr>
              <a:defRPr sz="14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67958097"/>
      </p:ext>
    </p:extLst>
  </p:cSld>
  <p:clrMapOvr>
    <a:masterClrMapping/>
  </p:clrMapOvr>
  <p:transition spd="med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การเปรียบเทียบ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5" name="Title Text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1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/>
            </a:lvl1pPr>
          </a:lstStyle>
          <a:p>
            <a:r>
              <a:t>Title Text</a:t>
            </a:r>
          </a:p>
        </p:txBody>
      </p:sp>
      <p:sp>
        <p:nvSpPr>
          <p:cNvPr id="72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57200" y="1535112"/>
            <a:ext cx="4040188" cy="639763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>
            <a:lvl1pPr marL="0" indent="0" defTabSz="914400">
              <a:spcBef>
                <a:spcPts val="500"/>
              </a:spcBef>
              <a:buClrTx/>
              <a:buSzTx/>
              <a:buNone/>
              <a:defRPr sz="2400" b="1"/>
            </a:lvl1pPr>
            <a:lvl2pPr marL="0" indent="457200" defTabSz="914400">
              <a:spcBef>
                <a:spcPts val="500"/>
              </a:spcBef>
              <a:buClrTx/>
              <a:buSzTx/>
              <a:buNone/>
              <a:defRPr sz="2400" b="1"/>
            </a:lvl2pPr>
            <a:lvl3pPr marL="0" indent="914400" defTabSz="914400">
              <a:spcBef>
                <a:spcPts val="500"/>
              </a:spcBef>
              <a:buClrTx/>
              <a:buSzTx/>
              <a:buNone/>
              <a:defRPr sz="2400" b="1"/>
            </a:lvl3pPr>
            <a:lvl4pPr marL="0" indent="1371600" defTabSz="914400">
              <a:spcBef>
                <a:spcPts val="500"/>
              </a:spcBef>
              <a:buClrTx/>
              <a:buSzTx/>
              <a:buNone/>
              <a:defRPr sz="2400" b="1"/>
            </a:lvl4pPr>
            <a:lvl5pPr marL="0" indent="1828800" defTabSz="914400">
              <a:spcBef>
                <a:spcPts val="500"/>
              </a:spcBef>
              <a:buClrTx/>
              <a:buSzTx/>
              <a:buNone/>
              <a:defRPr sz="2400" b="1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27" name="ตัวยึดข้อความ 4"/>
          <p:cNvSpPr>
            <a:spLocks noGrp="1"/>
          </p:cNvSpPr>
          <p:nvPr>
            <p:ph type="body" sz="quarter" idx="13"/>
          </p:nvPr>
        </p:nvSpPr>
        <p:spPr>
          <a:xfrm>
            <a:off x="4645025" y="1535112"/>
            <a:ext cx="4041775" cy="639763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/>
          <a:p>
            <a:pPr marL="0" indent="0" defTabSz="914400">
              <a:spcBef>
                <a:spcPts val="500"/>
              </a:spcBef>
              <a:buClrTx/>
              <a:buSzTx/>
              <a:buNone/>
              <a:defRPr sz="2400" b="1"/>
            </a:pPr>
            <a:endParaRPr/>
          </a:p>
        </p:txBody>
      </p:sp>
      <p:sp>
        <p:nvSpPr>
          <p:cNvPr id="72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384892" y="6245225"/>
            <a:ext cx="301909" cy="288824"/>
          </a:xfrm>
          <a:prstGeom prst="rect">
            <a:avLst/>
          </a:prstGeom>
        </p:spPr>
        <p:txBody>
          <a:bodyPr lIns="45719" tIns="45719" rIns="45719" bIns="45719" anchor="t"/>
          <a:lstStyle>
            <a:lvl1pPr>
              <a:defRPr sz="14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24502981"/>
      </p:ext>
    </p:extLst>
  </p:cSld>
  <p:clrMapOvr>
    <a:masterClrMapping/>
  </p:clrMapOvr>
  <p:transition spd="med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เฉพาะชื่อเรื่อง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5" name="Title Text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1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/>
            </a:lvl1pPr>
          </a:lstStyle>
          <a:p>
            <a:r>
              <a:t>Title Text</a:t>
            </a:r>
          </a:p>
        </p:txBody>
      </p:sp>
      <p:sp>
        <p:nvSpPr>
          <p:cNvPr id="73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384892" y="6245225"/>
            <a:ext cx="301909" cy="288824"/>
          </a:xfrm>
          <a:prstGeom prst="rect">
            <a:avLst/>
          </a:prstGeom>
        </p:spPr>
        <p:txBody>
          <a:bodyPr lIns="45719" tIns="45719" rIns="45719" bIns="45719" anchor="t"/>
          <a:lstStyle>
            <a:lvl1pPr>
              <a:defRPr sz="14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9401884"/>
      </p:ext>
    </p:extLst>
  </p:cSld>
  <p:clrMapOvr>
    <a:masterClrMapping/>
  </p:clrMapOvr>
  <p:transition spd="med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เนื้อหาพร้อมคำอธิบายภาพ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Title Text"/>
          <p:cNvSpPr txBox="1">
            <a:spLocks noGrp="1"/>
          </p:cNvSpPr>
          <p:nvPr>
            <p:ph type="title"/>
          </p:nvPr>
        </p:nvSpPr>
        <p:spPr>
          <a:xfrm>
            <a:off x="457200" y="273050"/>
            <a:ext cx="3008314" cy="1162050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>
            <a:lvl1pPr defTabSz="914400">
              <a:tabLst/>
              <a:defRPr sz="2000"/>
            </a:lvl1pPr>
          </a:lstStyle>
          <a:p>
            <a:r>
              <a:t>Title Text</a:t>
            </a:r>
          </a:p>
        </p:txBody>
      </p:sp>
      <p:sp>
        <p:nvSpPr>
          <p:cNvPr id="751" name="Body Level One…"/>
          <p:cNvSpPr txBox="1">
            <a:spLocks noGrp="1"/>
          </p:cNvSpPr>
          <p:nvPr>
            <p:ph type="body"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342900" indent="-342900" defTabSz="914400">
              <a:spcBef>
                <a:spcPts val="700"/>
              </a:spcBef>
              <a:buClrTx/>
              <a:defRPr sz="3200"/>
            </a:lvl1pPr>
            <a:lvl2pPr marL="783771" indent="-326571" defTabSz="914400">
              <a:spcBef>
                <a:spcPts val="700"/>
              </a:spcBef>
              <a:buClrTx/>
              <a:buSzPct val="100000"/>
              <a:buChar char="–"/>
              <a:defRPr sz="3200"/>
            </a:lvl2pPr>
            <a:lvl3pPr marL="1219200" indent="-304800" defTabSz="914400">
              <a:spcBef>
                <a:spcPts val="700"/>
              </a:spcBef>
              <a:buClrTx/>
              <a:buSzPct val="100000"/>
              <a:buChar char="•"/>
              <a:defRPr sz="3200"/>
            </a:lvl3pPr>
            <a:lvl4pPr marL="1737360" indent="-365760" defTabSz="914400">
              <a:spcBef>
                <a:spcPts val="700"/>
              </a:spcBef>
              <a:buClrTx/>
              <a:buSzPct val="100000"/>
              <a:buChar char="–"/>
              <a:defRPr sz="3200"/>
            </a:lvl4pPr>
            <a:lvl5pPr marL="2194560" indent="-365760" defTabSz="914400">
              <a:spcBef>
                <a:spcPts val="700"/>
              </a:spcBef>
              <a:buClrTx/>
              <a:buSzPct val="100000"/>
              <a:buChar char="»"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52" name="ตัวยึดข้อความ 3"/>
          <p:cNvSpPr>
            <a:spLocks noGrp="1"/>
          </p:cNvSpPr>
          <p:nvPr>
            <p:ph type="body" sz="half" idx="13"/>
          </p:nvPr>
        </p:nvSpPr>
        <p:spPr>
          <a:xfrm>
            <a:off x="457199" y="1435100"/>
            <a:ext cx="3008315" cy="4691063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/>
          <a:p>
            <a:pPr marL="0" indent="0" defTabSz="914400">
              <a:spcBef>
                <a:spcPts val="300"/>
              </a:spcBef>
              <a:buClrTx/>
              <a:buSzTx/>
              <a:buNone/>
              <a:defRPr sz="1400"/>
            </a:pPr>
            <a:endParaRPr/>
          </a:p>
        </p:txBody>
      </p:sp>
      <p:sp>
        <p:nvSpPr>
          <p:cNvPr id="75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384892" y="6245225"/>
            <a:ext cx="301909" cy="288824"/>
          </a:xfrm>
          <a:prstGeom prst="rect">
            <a:avLst/>
          </a:prstGeom>
        </p:spPr>
        <p:txBody>
          <a:bodyPr lIns="45719" tIns="45719" rIns="45719" bIns="45719" anchor="t"/>
          <a:lstStyle>
            <a:lvl1pPr>
              <a:defRPr sz="14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79522188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Rectangle 22"/>
          <p:cNvSpPr/>
          <p:nvPr/>
        </p:nvSpPr>
        <p:spPr>
          <a:xfrm>
            <a:off x="9720" y="1"/>
            <a:ext cx="9134280" cy="918280"/>
          </a:xfrm>
          <a:prstGeom prst="rect">
            <a:avLst/>
          </a:prstGeom>
          <a:solidFill>
            <a:srgbClr val="FDEADA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107" name="Straight Connector 12"/>
          <p:cNvSpPr/>
          <p:nvPr/>
        </p:nvSpPr>
        <p:spPr>
          <a:xfrm>
            <a:off x="608941" y="981648"/>
            <a:ext cx="8442861" cy="1"/>
          </a:xfrm>
          <a:prstGeom prst="line">
            <a:avLst/>
          </a:prstGeom>
          <a:ln w="57150">
            <a:solidFill>
              <a:srgbClr val="FF7A00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08" name="Title Text"/>
          <p:cNvSpPr txBox="1">
            <a:spLocks noGrp="1"/>
          </p:cNvSpPr>
          <p:nvPr>
            <p:ph type="title"/>
          </p:nvPr>
        </p:nvSpPr>
        <p:spPr>
          <a:xfrm>
            <a:off x="456794" y="32395"/>
            <a:ext cx="8230412" cy="914281"/>
          </a:xfrm>
          <a:prstGeom prst="rect">
            <a:avLst/>
          </a:prstGeom>
        </p:spPr>
        <p:txBody>
          <a:bodyPr lIns="46648" tIns="46648" rIns="46648" bIns="46648" anchor="ctr">
            <a:normAutofit/>
          </a:bodyPr>
          <a:lstStyle>
            <a:lvl1pPr algn="ctr" defTabSz="932962">
              <a:tabLst/>
              <a:defRPr sz="4500" b="0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r>
              <a:t>Title Text</a:t>
            </a:r>
          </a:p>
        </p:txBody>
      </p:sp>
      <p:sp>
        <p:nvSpPr>
          <p:cNvPr id="10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8420" y="6453472"/>
            <a:ext cx="514268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l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110" name="Diamond 16"/>
          <p:cNvSpPr/>
          <p:nvPr/>
        </p:nvSpPr>
        <p:spPr>
          <a:xfrm>
            <a:off x="40955" y="664755"/>
            <a:ext cx="572105" cy="572072"/>
          </a:xfrm>
          <a:prstGeom prst="diamond">
            <a:avLst/>
          </a:prstGeom>
          <a:solidFill>
            <a:srgbClr val="E2E2E2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111" name="Diamond 17"/>
          <p:cNvSpPr/>
          <p:nvPr/>
        </p:nvSpPr>
        <p:spPr>
          <a:xfrm>
            <a:off x="371482" y="709233"/>
            <a:ext cx="286053" cy="286036"/>
          </a:xfrm>
          <a:prstGeom prst="diamond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112" name="Straight Connector 24"/>
          <p:cNvSpPr/>
          <p:nvPr/>
        </p:nvSpPr>
        <p:spPr>
          <a:xfrm flipV="1">
            <a:off x="4091718" y="1049678"/>
            <a:ext cx="5047556" cy="9719"/>
          </a:xfrm>
          <a:prstGeom prst="line">
            <a:avLst/>
          </a:prstGeom>
          <a:ln w="38100">
            <a:solidFill>
              <a:srgbClr val="9BBB59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13" name="Picture 11" descr="Picture 1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5290" y="950791"/>
            <a:ext cx="1196837" cy="333836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348372813"/>
      </p:ext>
    </p:extLst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รูปภาพพร้อมคำอธิบายภาพ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0" name="Title Text"/>
          <p:cNvSpPr txBox="1">
            <a:spLocks noGrp="1"/>
          </p:cNvSpPr>
          <p:nvPr>
            <p:ph type="title"/>
          </p:nvPr>
        </p:nvSpPr>
        <p:spPr>
          <a:xfrm>
            <a:off x="1792288" y="4800600"/>
            <a:ext cx="5486401" cy="566738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>
            <a:lvl1pPr defTabSz="914400">
              <a:tabLst/>
              <a:defRPr sz="2000"/>
            </a:lvl1pPr>
          </a:lstStyle>
          <a:p>
            <a:r>
              <a:t>Title Text</a:t>
            </a:r>
          </a:p>
        </p:txBody>
      </p:sp>
      <p:sp>
        <p:nvSpPr>
          <p:cNvPr id="761" name="ตัวยึดรูปภาพ 2"/>
          <p:cNvSpPr>
            <a:spLocks noGrp="1"/>
          </p:cNvSpPr>
          <p:nvPr>
            <p:ph type="pic" sz="half" idx="13"/>
          </p:nvPr>
        </p:nvSpPr>
        <p:spPr>
          <a:xfrm>
            <a:off x="1792288" y="612775"/>
            <a:ext cx="5486401" cy="41148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76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792288" y="5367337"/>
            <a:ext cx="5486401" cy="804863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0" indent="0" defTabSz="914400">
              <a:spcBef>
                <a:spcPts val="300"/>
              </a:spcBef>
              <a:buClrTx/>
              <a:buSzTx/>
              <a:buNone/>
              <a:defRPr sz="1400"/>
            </a:lvl1pPr>
            <a:lvl2pPr marL="0" indent="457200" defTabSz="914400">
              <a:spcBef>
                <a:spcPts val="300"/>
              </a:spcBef>
              <a:buClrTx/>
              <a:buSzTx/>
              <a:buNone/>
              <a:defRPr sz="1400"/>
            </a:lvl2pPr>
            <a:lvl3pPr marL="0" indent="914400" defTabSz="914400">
              <a:spcBef>
                <a:spcPts val="300"/>
              </a:spcBef>
              <a:buClrTx/>
              <a:buSzTx/>
              <a:buNone/>
              <a:defRPr sz="1400"/>
            </a:lvl3pPr>
            <a:lvl4pPr marL="0" indent="1371600" defTabSz="914400">
              <a:spcBef>
                <a:spcPts val="300"/>
              </a:spcBef>
              <a:buClrTx/>
              <a:buSzTx/>
              <a:buNone/>
              <a:defRPr sz="1400"/>
            </a:lvl4pPr>
            <a:lvl5pPr marL="0" indent="1828800" defTabSz="914400">
              <a:spcBef>
                <a:spcPts val="300"/>
              </a:spcBef>
              <a:buClrTx/>
              <a:buSzTx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6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384892" y="6245225"/>
            <a:ext cx="301909" cy="288824"/>
          </a:xfrm>
          <a:prstGeom prst="rect">
            <a:avLst/>
          </a:prstGeom>
        </p:spPr>
        <p:txBody>
          <a:bodyPr lIns="45719" tIns="45719" rIns="45719" bIns="45719" anchor="t"/>
          <a:lstStyle>
            <a:lvl1pPr>
              <a:defRPr sz="14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80369521"/>
      </p:ext>
    </p:extLst>
  </p:cSld>
  <p:clrMapOvr>
    <a:masterClrMapping/>
  </p:clrMapOvr>
  <p:transition spd="med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ชื่อเรื่องและข้อความแนวตั้ง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0" name="Title Text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1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/>
            </a:lvl1pPr>
          </a:lstStyle>
          <a:p>
            <a:r>
              <a:t>Title Text</a:t>
            </a:r>
          </a:p>
        </p:txBody>
      </p:sp>
      <p:sp>
        <p:nvSpPr>
          <p:cNvPr id="771" name="Body Level One…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342900" indent="-342900" defTabSz="914400">
              <a:spcBef>
                <a:spcPts val="700"/>
              </a:spcBef>
              <a:buClrTx/>
              <a:defRPr sz="3200"/>
            </a:lvl1pPr>
            <a:lvl2pPr marL="783771" indent="-326571" defTabSz="914400">
              <a:spcBef>
                <a:spcPts val="700"/>
              </a:spcBef>
              <a:buClrTx/>
              <a:buSzPct val="100000"/>
              <a:buChar char="–"/>
              <a:defRPr sz="3200"/>
            </a:lvl2pPr>
            <a:lvl3pPr marL="1219200" indent="-304800" defTabSz="914400">
              <a:spcBef>
                <a:spcPts val="700"/>
              </a:spcBef>
              <a:buClrTx/>
              <a:buSzPct val="100000"/>
              <a:buChar char="•"/>
              <a:defRPr sz="3200"/>
            </a:lvl3pPr>
            <a:lvl4pPr marL="1737360" indent="-365760" defTabSz="914400">
              <a:spcBef>
                <a:spcPts val="700"/>
              </a:spcBef>
              <a:buClrTx/>
              <a:buSzPct val="100000"/>
              <a:buChar char="–"/>
              <a:defRPr sz="3200"/>
            </a:lvl4pPr>
            <a:lvl5pPr marL="2194560" indent="-365760" defTabSz="914400">
              <a:spcBef>
                <a:spcPts val="700"/>
              </a:spcBef>
              <a:buClrTx/>
              <a:buSzPct val="100000"/>
              <a:buChar char="»"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7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384892" y="6245225"/>
            <a:ext cx="301909" cy="288824"/>
          </a:xfrm>
          <a:prstGeom prst="rect">
            <a:avLst/>
          </a:prstGeom>
        </p:spPr>
        <p:txBody>
          <a:bodyPr lIns="45719" tIns="45719" rIns="45719" bIns="45719" anchor="t"/>
          <a:lstStyle>
            <a:lvl1pPr>
              <a:defRPr sz="14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04629119"/>
      </p:ext>
    </p:extLst>
  </p:cSld>
  <p:clrMapOvr>
    <a:masterClrMapping/>
  </p:clrMapOvr>
  <p:transition spd="med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ข้อความและชื่อเรื่องแนวตั้ง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9" name="Title Text"/>
          <p:cNvSpPr txBox="1">
            <a:spLocks noGrp="1"/>
          </p:cNvSpPr>
          <p:nvPr>
            <p:ph type="title"/>
          </p:nvPr>
        </p:nvSpPr>
        <p:spPr>
          <a:xfrm>
            <a:off x="6629400" y="274638"/>
            <a:ext cx="2057400" cy="5851526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/>
            </a:lvl1pPr>
          </a:lstStyle>
          <a:p>
            <a:r>
              <a:t>Title Text</a:t>
            </a:r>
          </a:p>
        </p:txBody>
      </p:sp>
      <p:sp>
        <p:nvSpPr>
          <p:cNvPr id="780" name="Body Level One…"/>
          <p:cNvSpPr txBox="1">
            <a:spLocks noGrp="1"/>
          </p:cNvSpPr>
          <p:nvPr>
            <p:ph type="body" idx="1"/>
          </p:nvPr>
        </p:nvSpPr>
        <p:spPr>
          <a:xfrm>
            <a:off x="457200" y="274638"/>
            <a:ext cx="6019800" cy="5851526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342900" indent="-342900" defTabSz="914400">
              <a:spcBef>
                <a:spcPts val="700"/>
              </a:spcBef>
              <a:buClrTx/>
              <a:defRPr sz="3200"/>
            </a:lvl1pPr>
            <a:lvl2pPr marL="783771" indent="-326571" defTabSz="914400">
              <a:spcBef>
                <a:spcPts val="700"/>
              </a:spcBef>
              <a:buClrTx/>
              <a:buSzPct val="100000"/>
              <a:buChar char="–"/>
              <a:defRPr sz="3200"/>
            </a:lvl2pPr>
            <a:lvl3pPr marL="1219200" indent="-304800" defTabSz="914400">
              <a:spcBef>
                <a:spcPts val="700"/>
              </a:spcBef>
              <a:buClrTx/>
              <a:buSzPct val="100000"/>
              <a:buChar char="•"/>
              <a:defRPr sz="3200"/>
            </a:lvl3pPr>
            <a:lvl4pPr marL="1737360" indent="-365760" defTabSz="914400">
              <a:spcBef>
                <a:spcPts val="700"/>
              </a:spcBef>
              <a:buClrTx/>
              <a:buSzPct val="100000"/>
              <a:buChar char="–"/>
              <a:defRPr sz="3200"/>
            </a:lvl4pPr>
            <a:lvl5pPr marL="2194560" indent="-365760" defTabSz="914400">
              <a:spcBef>
                <a:spcPts val="700"/>
              </a:spcBef>
              <a:buClrTx/>
              <a:buSzPct val="100000"/>
              <a:buChar char="»"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8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384892" y="6245225"/>
            <a:ext cx="301909" cy="288824"/>
          </a:xfrm>
          <a:prstGeom prst="rect">
            <a:avLst/>
          </a:prstGeom>
        </p:spPr>
        <p:txBody>
          <a:bodyPr lIns="45719" tIns="45719" rIns="45719" bIns="45719" anchor="t"/>
          <a:lstStyle>
            <a:lvl1pPr>
              <a:defRPr sz="14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35027777"/>
      </p:ext>
    </p:extLst>
  </p:cSld>
  <p:clrMapOvr>
    <a:masterClrMapping/>
  </p:clrMapOvr>
  <p:transition spd="med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เนื้อหา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" name="Body Level One…"/>
          <p:cNvSpPr txBox="1">
            <a:spLocks noGrp="1"/>
          </p:cNvSpPr>
          <p:nvPr>
            <p:ph type="body" idx="1"/>
          </p:nvPr>
        </p:nvSpPr>
        <p:spPr>
          <a:xfrm>
            <a:off x="457200" y="274638"/>
            <a:ext cx="8229600" cy="5851526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342900" indent="-342900" defTabSz="914400">
              <a:spcBef>
                <a:spcPts val="700"/>
              </a:spcBef>
              <a:buClrTx/>
              <a:defRPr sz="3200"/>
            </a:lvl1pPr>
            <a:lvl2pPr marL="783771" indent="-326571" defTabSz="914400">
              <a:spcBef>
                <a:spcPts val="700"/>
              </a:spcBef>
              <a:buClrTx/>
              <a:buSzPct val="100000"/>
              <a:buChar char="–"/>
              <a:defRPr sz="3200"/>
            </a:lvl2pPr>
            <a:lvl3pPr marL="1219200" indent="-304800" defTabSz="914400">
              <a:spcBef>
                <a:spcPts val="700"/>
              </a:spcBef>
              <a:buClrTx/>
              <a:buSzPct val="100000"/>
              <a:buChar char="•"/>
              <a:defRPr sz="3200"/>
            </a:lvl3pPr>
            <a:lvl4pPr marL="1737360" indent="-365760" defTabSz="914400">
              <a:spcBef>
                <a:spcPts val="700"/>
              </a:spcBef>
              <a:buClrTx/>
              <a:buSzPct val="100000"/>
              <a:buChar char="–"/>
              <a:defRPr sz="3200"/>
            </a:lvl4pPr>
            <a:lvl5pPr marL="2194560" indent="-365760" defTabSz="914400">
              <a:spcBef>
                <a:spcPts val="700"/>
              </a:spcBef>
              <a:buClrTx/>
              <a:buSzPct val="100000"/>
              <a:buChar char="»"/>
              <a:defRPr sz="3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89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384892" y="6245225"/>
            <a:ext cx="301909" cy="288824"/>
          </a:xfrm>
          <a:prstGeom prst="rect">
            <a:avLst/>
          </a:prstGeom>
        </p:spPr>
        <p:txBody>
          <a:bodyPr lIns="45719" tIns="45719" rIns="45719" bIns="45719" anchor="t"/>
          <a:lstStyle>
            <a:lvl1pPr>
              <a:defRPr sz="14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33417123"/>
      </p:ext>
    </p:extLst>
  </p:cSld>
  <p:clrMapOvr>
    <a:masterClrMapping/>
  </p:clrMapOvr>
  <p:transition spd="med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6_Title and Content">
    <p:bg>
      <p:bgPr>
        <a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30135" y="6245225"/>
            <a:ext cx="256665" cy="256540"/>
          </a:xfrm>
          <a:prstGeom prst="rect">
            <a:avLst/>
          </a:prstGeom>
        </p:spPr>
        <p:txBody>
          <a:bodyPr lIns="45719" tIns="45719" rIns="45719" bIns="45719" anchor="t"/>
          <a:lstStyle>
            <a:lvl1pPr>
              <a:defRPr sz="1100">
                <a:solidFill>
                  <a:srgbClr val="898989"/>
                </a:solidFill>
                <a:latin typeface="Tahoma"/>
                <a:ea typeface="Tahoma"/>
                <a:cs typeface="Tahoma"/>
                <a:sym typeface="Tahoma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100" b="0" i="0" u="none" strike="noStrike" kern="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100" b="0" i="0" u="none" strike="noStrike" kern="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511824047"/>
      </p:ext>
    </p:extLst>
  </p:cSld>
  <p:clrMapOvr>
    <a:masterClrMapping/>
  </p:clrMapOvr>
  <p:transition spd="med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03" name="Title Text"/>
          <p:cNvSpPr txBox="1">
            <a:spLocks noGrp="1"/>
          </p:cNvSpPr>
          <p:nvPr>
            <p:ph type="title"/>
          </p:nvPr>
        </p:nvSpPr>
        <p:spPr>
          <a:xfrm>
            <a:off x="685800" y="2130426"/>
            <a:ext cx="7772400" cy="1470026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80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0" indent="0" algn="ctr" defTabSz="914400">
              <a:spcBef>
                <a:spcPts val="700"/>
              </a:spcBef>
              <a:buClrTx/>
              <a:buSzTx/>
              <a:buNone/>
              <a:defRPr sz="3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  <a:lvl2pPr marL="0" indent="457200" algn="ctr" defTabSz="914400">
              <a:spcBef>
                <a:spcPts val="700"/>
              </a:spcBef>
              <a:buClrTx/>
              <a:buSzTx/>
              <a:buNone/>
              <a:defRPr sz="3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2pPr>
            <a:lvl3pPr marL="0" indent="914400" algn="ctr" defTabSz="914400">
              <a:spcBef>
                <a:spcPts val="700"/>
              </a:spcBef>
              <a:buClrTx/>
              <a:buSzTx/>
              <a:buNone/>
              <a:defRPr sz="3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3pPr>
            <a:lvl4pPr marL="0" indent="1371600" algn="ctr" defTabSz="914400">
              <a:spcBef>
                <a:spcPts val="700"/>
              </a:spcBef>
              <a:buClrTx/>
              <a:buSzTx/>
              <a:buNone/>
              <a:defRPr sz="3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4pPr>
            <a:lvl5pPr marL="0" indent="1828800" algn="ctr" defTabSz="914400">
              <a:spcBef>
                <a:spcPts val="700"/>
              </a:spcBef>
              <a:buClrTx/>
              <a:buSzTx/>
              <a:buNone/>
              <a:defRPr sz="3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0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75164620"/>
      </p:ext>
    </p:extLst>
  </p:cSld>
  <p:clrMapOvr>
    <a:masterClrMapping/>
  </p:clrMapOvr>
  <p:transition spd="med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2" name="Title Text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1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813" name="Body Level One…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342900" indent="-342900" defTabSz="914400">
              <a:spcBef>
                <a:spcPts val="700"/>
              </a:spcBef>
              <a:buClrTx/>
              <a:buFont typeface="Arial"/>
              <a:defRPr sz="3200">
                <a:latin typeface="+mj-lt"/>
                <a:ea typeface="+mj-ea"/>
                <a:cs typeface="+mj-cs"/>
                <a:sym typeface="Calibri"/>
              </a:defRPr>
            </a:lvl1pPr>
            <a:lvl2pPr marL="783771" indent="-326571" defTabSz="914400">
              <a:spcBef>
                <a:spcPts val="700"/>
              </a:spcBef>
              <a:buClrTx/>
              <a:buSzPct val="100000"/>
              <a:buFont typeface="Arial"/>
              <a:buChar char="–"/>
              <a:defRPr sz="3200">
                <a:latin typeface="+mj-lt"/>
                <a:ea typeface="+mj-ea"/>
                <a:cs typeface="+mj-cs"/>
                <a:sym typeface="Calibri"/>
              </a:defRPr>
            </a:lvl2pPr>
            <a:lvl3pPr marL="1219200" indent="-304800" defTabSz="914400"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latin typeface="+mj-lt"/>
                <a:ea typeface="+mj-ea"/>
                <a:cs typeface="+mj-cs"/>
                <a:sym typeface="Calibri"/>
              </a:defRPr>
            </a:lvl3pPr>
            <a:lvl4pPr marL="1737360" indent="-365760" defTabSz="914400">
              <a:spcBef>
                <a:spcPts val="700"/>
              </a:spcBef>
              <a:buClrTx/>
              <a:buSzPct val="100000"/>
              <a:buFont typeface="Arial"/>
              <a:buChar char="–"/>
              <a:defRPr sz="3200">
                <a:latin typeface="+mj-lt"/>
                <a:ea typeface="+mj-ea"/>
                <a:cs typeface="+mj-cs"/>
                <a:sym typeface="Calibri"/>
              </a:defRPr>
            </a:lvl4pPr>
            <a:lvl5pPr marL="2194560" indent="-365760" defTabSz="914400">
              <a:spcBef>
                <a:spcPts val="700"/>
              </a:spcBef>
              <a:buClrTx/>
              <a:buSzPct val="100000"/>
              <a:buFont typeface="Arial"/>
              <a:buChar char="»"/>
              <a:defRPr sz="3200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73070891"/>
      </p:ext>
    </p:extLst>
  </p:cSld>
  <p:clrMapOvr>
    <a:masterClrMapping/>
  </p:clrMapOvr>
  <p:transition spd="med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1" name="Title Text"/>
          <p:cNvSpPr txBox="1">
            <a:spLocks noGrp="1"/>
          </p:cNvSpPr>
          <p:nvPr>
            <p:ph type="title"/>
          </p:nvPr>
        </p:nvSpPr>
        <p:spPr>
          <a:xfrm>
            <a:off x="722312" y="4406901"/>
            <a:ext cx="7772401" cy="1362077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defTabSz="914400">
              <a:tabLst/>
              <a:defRPr sz="4000" cap="all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82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722312" y="2906713"/>
            <a:ext cx="7772401" cy="1500188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>
            <a:lvl1pPr marL="0" indent="0" defTabSz="914400">
              <a:spcBef>
                <a:spcPts val="400"/>
              </a:spcBef>
              <a:buClrTx/>
              <a:buSzTx/>
              <a:buNone/>
              <a:defRPr sz="20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  <a:lvl2pPr marL="0" indent="457200" defTabSz="914400">
              <a:spcBef>
                <a:spcPts val="400"/>
              </a:spcBef>
              <a:buClrTx/>
              <a:buSzTx/>
              <a:buNone/>
              <a:defRPr sz="20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2pPr>
            <a:lvl3pPr marL="0" indent="914400" defTabSz="914400">
              <a:spcBef>
                <a:spcPts val="400"/>
              </a:spcBef>
              <a:buClrTx/>
              <a:buSzTx/>
              <a:buNone/>
              <a:defRPr sz="20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3pPr>
            <a:lvl4pPr marL="0" indent="1371600" defTabSz="914400">
              <a:spcBef>
                <a:spcPts val="400"/>
              </a:spcBef>
              <a:buClrTx/>
              <a:buSzTx/>
              <a:buNone/>
              <a:defRPr sz="20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4pPr>
            <a:lvl5pPr marL="0" indent="1828800" defTabSz="914400">
              <a:spcBef>
                <a:spcPts val="400"/>
              </a:spcBef>
              <a:buClrTx/>
              <a:buSzTx/>
              <a:buNone/>
              <a:defRPr sz="20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2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30125186"/>
      </p:ext>
    </p:extLst>
  </p:cSld>
  <p:clrMapOvr>
    <a:masterClrMapping/>
  </p:clrMapOvr>
  <p:transition spd="med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0" name="Title Text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1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831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342900" indent="-342900" defTabSz="914400">
              <a:spcBef>
                <a:spcPts val="600"/>
              </a:spcBef>
              <a:buClrTx/>
              <a:buFont typeface="Arial"/>
              <a:defRPr sz="2800">
                <a:latin typeface="+mj-lt"/>
                <a:ea typeface="+mj-ea"/>
                <a:cs typeface="+mj-cs"/>
                <a:sym typeface="Calibri"/>
              </a:defRPr>
            </a:lvl1pPr>
            <a:lvl2pPr marL="790575" indent="-333375" defTabSz="914400">
              <a:spcBef>
                <a:spcPts val="600"/>
              </a:spcBef>
              <a:buClrTx/>
              <a:buSzPct val="100000"/>
              <a:buFont typeface="Arial"/>
              <a:buChar char="–"/>
              <a:defRPr sz="2800">
                <a:latin typeface="+mj-lt"/>
                <a:ea typeface="+mj-ea"/>
                <a:cs typeface="+mj-cs"/>
                <a:sym typeface="Calibri"/>
              </a:defRPr>
            </a:lvl2pPr>
            <a:lvl3pPr marL="1234439" indent="-320039" defTabSz="914400">
              <a:spcBef>
                <a:spcPts val="600"/>
              </a:spcBef>
              <a:buClrTx/>
              <a:buSzPct val="100000"/>
              <a:buFont typeface="Arial"/>
              <a:buChar char="•"/>
              <a:defRPr sz="2800">
                <a:latin typeface="+mj-lt"/>
                <a:ea typeface="+mj-ea"/>
                <a:cs typeface="+mj-cs"/>
                <a:sym typeface="Calibri"/>
              </a:defRPr>
            </a:lvl3pPr>
            <a:lvl4pPr marL="1727200" indent="-355600" defTabSz="914400">
              <a:spcBef>
                <a:spcPts val="600"/>
              </a:spcBef>
              <a:buClrTx/>
              <a:buSzPct val="100000"/>
              <a:buFont typeface="Arial"/>
              <a:buChar char="–"/>
              <a:defRPr sz="2800">
                <a:latin typeface="+mj-lt"/>
                <a:ea typeface="+mj-ea"/>
                <a:cs typeface="+mj-cs"/>
                <a:sym typeface="Calibri"/>
              </a:defRPr>
            </a:lvl4pPr>
            <a:lvl5pPr marL="2184400" indent="-355600" defTabSz="914400">
              <a:spcBef>
                <a:spcPts val="600"/>
              </a:spcBef>
              <a:buClrTx/>
              <a:buSzPct val="100000"/>
              <a:buFont typeface="Arial"/>
              <a:buChar char="»"/>
              <a:defRPr sz="2800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3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070543338"/>
      </p:ext>
    </p:extLst>
  </p:cSld>
  <p:clrMapOvr>
    <a:masterClrMapping/>
  </p:clrMapOvr>
  <p:transition spd="med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" name="Title Text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1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84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457200" y="1535113"/>
            <a:ext cx="4040188" cy="639763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>
            <a:lvl1pPr marL="0" indent="0" defTabSz="914400">
              <a:spcBef>
                <a:spcPts val="500"/>
              </a:spcBef>
              <a:buClrTx/>
              <a:buSzTx/>
              <a:buNone/>
              <a:defRPr sz="2400" b="1">
                <a:latin typeface="+mj-lt"/>
                <a:ea typeface="+mj-ea"/>
                <a:cs typeface="+mj-cs"/>
                <a:sym typeface="Calibri"/>
              </a:defRPr>
            </a:lvl1pPr>
            <a:lvl2pPr marL="0" indent="457200" defTabSz="914400">
              <a:spcBef>
                <a:spcPts val="500"/>
              </a:spcBef>
              <a:buClrTx/>
              <a:buSzTx/>
              <a:buNone/>
              <a:defRPr sz="2400" b="1">
                <a:latin typeface="+mj-lt"/>
                <a:ea typeface="+mj-ea"/>
                <a:cs typeface="+mj-cs"/>
                <a:sym typeface="Calibri"/>
              </a:defRPr>
            </a:lvl2pPr>
            <a:lvl3pPr marL="0" indent="914400" defTabSz="914400">
              <a:spcBef>
                <a:spcPts val="500"/>
              </a:spcBef>
              <a:buClrTx/>
              <a:buSzTx/>
              <a:buNone/>
              <a:defRPr sz="2400" b="1">
                <a:latin typeface="+mj-lt"/>
                <a:ea typeface="+mj-ea"/>
                <a:cs typeface="+mj-cs"/>
                <a:sym typeface="Calibri"/>
              </a:defRPr>
            </a:lvl3pPr>
            <a:lvl4pPr marL="0" indent="1371600" defTabSz="914400">
              <a:spcBef>
                <a:spcPts val="500"/>
              </a:spcBef>
              <a:buClrTx/>
              <a:buSzTx/>
              <a:buNone/>
              <a:defRPr sz="2400" b="1">
                <a:latin typeface="+mj-lt"/>
                <a:ea typeface="+mj-ea"/>
                <a:cs typeface="+mj-cs"/>
                <a:sym typeface="Calibri"/>
              </a:defRPr>
            </a:lvl4pPr>
            <a:lvl5pPr marL="0" indent="1828800" defTabSz="914400">
              <a:spcBef>
                <a:spcPts val="500"/>
              </a:spcBef>
              <a:buClrTx/>
              <a:buSzTx/>
              <a:buNone/>
              <a:defRPr sz="2400" b="1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4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45026" y="1535113"/>
            <a:ext cx="4041776" cy="639763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/>
          <a:p>
            <a:pPr marL="0" indent="0" defTabSz="914400">
              <a:spcBef>
                <a:spcPts val="500"/>
              </a:spcBef>
              <a:buClrTx/>
              <a:buSzTx/>
              <a:buNone/>
              <a:defRPr sz="2400" b="1">
                <a:latin typeface="+mj-lt"/>
                <a:ea typeface="+mj-ea"/>
                <a:cs typeface="+mj-cs"/>
                <a:sym typeface="Calibri"/>
              </a:defRPr>
            </a:pPr>
            <a:endParaRPr/>
          </a:p>
        </p:txBody>
      </p:sp>
      <p:sp>
        <p:nvSpPr>
          <p:cNvPr id="84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42779036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8420" y="6453472"/>
            <a:ext cx="514268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l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grpSp>
        <p:nvGrpSpPr>
          <p:cNvPr id="138" name="Group 43"/>
          <p:cNvGrpSpPr/>
          <p:nvPr/>
        </p:nvGrpSpPr>
        <p:grpSpPr>
          <a:xfrm>
            <a:off x="117876" y="101689"/>
            <a:ext cx="8434883" cy="6429124"/>
            <a:chOff x="0" y="0"/>
            <a:chExt cx="8434882" cy="6429123"/>
          </a:xfrm>
        </p:grpSpPr>
        <p:sp>
          <p:nvSpPr>
            <p:cNvPr id="121" name="Diamond 40"/>
            <p:cNvSpPr/>
            <p:nvPr/>
          </p:nvSpPr>
          <p:spPr>
            <a:xfrm>
              <a:off x="170798" y="3281265"/>
              <a:ext cx="3135825" cy="3135640"/>
            </a:xfrm>
            <a:prstGeom prst="diamond">
              <a:avLst/>
            </a:prstGeom>
            <a:solidFill>
              <a:srgbClr val="FDEADA">
                <a:alpha val="45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TH SarabunPSK"/>
                  <a:ea typeface="TH SarabunPSK"/>
                  <a:cs typeface="TH SarabunPSK"/>
                  <a:sym typeface="TH SarabunPSK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endParaRPr>
            </a:p>
          </p:txBody>
        </p:sp>
        <p:sp>
          <p:nvSpPr>
            <p:cNvPr id="122" name="Diamond 39"/>
            <p:cNvSpPr/>
            <p:nvPr/>
          </p:nvSpPr>
          <p:spPr>
            <a:xfrm>
              <a:off x="202838" y="120459"/>
              <a:ext cx="6309038" cy="6308665"/>
            </a:xfrm>
            <a:prstGeom prst="diamond">
              <a:avLst/>
            </a:prstGeom>
            <a:solidFill>
              <a:srgbClr val="FDEADA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TH SarabunPSK"/>
                  <a:ea typeface="TH SarabunPSK"/>
                  <a:cs typeface="TH SarabunPSK"/>
                  <a:sym typeface="TH SarabunPSK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endParaRPr>
            </a:p>
          </p:txBody>
        </p:sp>
        <p:sp>
          <p:nvSpPr>
            <p:cNvPr id="123" name="Diamond 35"/>
            <p:cNvSpPr/>
            <p:nvPr/>
          </p:nvSpPr>
          <p:spPr>
            <a:xfrm>
              <a:off x="4943963" y="1312409"/>
              <a:ext cx="3490920" cy="3490714"/>
            </a:xfrm>
            <a:prstGeom prst="diamond">
              <a:avLst/>
            </a:prstGeom>
            <a:solidFill>
              <a:srgbClr val="EBF1DE">
                <a:alpha val="64999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TH SarabunPSK"/>
                  <a:ea typeface="TH SarabunPSK"/>
                  <a:cs typeface="TH SarabunPSK"/>
                  <a:sym typeface="TH SarabunPSK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endParaRPr>
            </a:p>
          </p:txBody>
        </p:sp>
        <p:grpSp>
          <p:nvGrpSpPr>
            <p:cNvPr id="136" name="Group 42"/>
            <p:cNvGrpSpPr/>
            <p:nvPr/>
          </p:nvGrpSpPr>
          <p:grpSpPr>
            <a:xfrm>
              <a:off x="0" y="0"/>
              <a:ext cx="2987205" cy="2450244"/>
              <a:chOff x="0" y="0"/>
              <a:chExt cx="2987204" cy="2450243"/>
            </a:xfrm>
          </p:grpSpPr>
          <p:grpSp>
            <p:nvGrpSpPr>
              <p:cNvPr id="134" name="Group 41"/>
              <p:cNvGrpSpPr/>
              <p:nvPr/>
            </p:nvGrpSpPr>
            <p:grpSpPr>
              <a:xfrm>
                <a:off x="-1" y="0"/>
                <a:ext cx="2987206" cy="2450244"/>
                <a:chOff x="0" y="0"/>
                <a:chExt cx="2987204" cy="2450243"/>
              </a:xfrm>
            </p:grpSpPr>
            <p:sp>
              <p:nvSpPr>
                <p:cNvPr id="124" name="Diamond 22"/>
                <p:cNvSpPr/>
                <p:nvPr/>
              </p:nvSpPr>
              <p:spPr>
                <a:xfrm>
                  <a:off x="395431" y="1637462"/>
                  <a:ext cx="236835" cy="236820"/>
                </a:xfrm>
                <a:prstGeom prst="diamond">
                  <a:avLst/>
                </a:prstGeom>
                <a:solidFill>
                  <a:srgbClr val="D7E4BD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125" name="Diamond 23"/>
                <p:cNvSpPr/>
                <p:nvPr/>
              </p:nvSpPr>
              <p:spPr>
                <a:xfrm>
                  <a:off x="826220" y="1925498"/>
                  <a:ext cx="378834" cy="378811"/>
                </a:xfrm>
                <a:prstGeom prst="diamond">
                  <a:avLst/>
                </a:prstGeom>
                <a:solidFill>
                  <a:srgbClr val="D9D9D9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126" name="Diamond 24"/>
                <p:cNvSpPr/>
                <p:nvPr/>
              </p:nvSpPr>
              <p:spPr>
                <a:xfrm>
                  <a:off x="2066363" y="961809"/>
                  <a:ext cx="459082" cy="459054"/>
                </a:xfrm>
                <a:prstGeom prst="diamond">
                  <a:avLst/>
                </a:prstGeom>
                <a:solidFill>
                  <a:srgbClr val="99CC00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127" name="Diamond 25"/>
                <p:cNvSpPr/>
                <p:nvPr/>
              </p:nvSpPr>
              <p:spPr>
                <a:xfrm>
                  <a:off x="64356" y="186889"/>
                  <a:ext cx="1738712" cy="1738609"/>
                </a:xfrm>
                <a:prstGeom prst="diamond">
                  <a:avLst/>
                </a:prstGeom>
                <a:solidFill>
                  <a:srgbClr val="D9D9D9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128" name="Diamond 26"/>
                <p:cNvSpPr/>
                <p:nvPr/>
              </p:nvSpPr>
              <p:spPr>
                <a:xfrm>
                  <a:off x="-1" y="180189"/>
                  <a:ext cx="1738712" cy="1738609"/>
                </a:xfrm>
                <a:prstGeom prst="diamond">
                  <a:avLst/>
                </a:prstGeom>
                <a:blipFill rotWithShape="1">
                  <a:blip r:embed="rId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129" name="Diamond 27"/>
                <p:cNvSpPr/>
                <p:nvPr/>
              </p:nvSpPr>
              <p:spPr>
                <a:xfrm>
                  <a:off x="1370006" y="0"/>
                  <a:ext cx="1219870" cy="1165595"/>
                </a:xfrm>
                <a:prstGeom prst="diamond">
                  <a:avLst/>
                </a:prstGeom>
                <a:blipFill rotWithShape="1">
                  <a:blip r:embed="rId3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130" name="Diamond 28"/>
                <p:cNvSpPr/>
                <p:nvPr/>
              </p:nvSpPr>
              <p:spPr>
                <a:xfrm>
                  <a:off x="1298371" y="1076308"/>
                  <a:ext cx="1070700" cy="1017454"/>
                </a:xfrm>
                <a:prstGeom prst="diamond">
                  <a:avLst/>
                </a:prstGeom>
                <a:blipFill rotWithShape="1">
                  <a:blip r:embed="rId4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131" name="Diamond 29"/>
                <p:cNvSpPr/>
                <p:nvPr/>
              </p:nvSpPr>
              <p:spPr>
                <a:xfrm>
                  <a:off x="334655" y="1788255"/>
                  <a:ext cx="696633" cy="661989"/>
                </a:xfrm>
                <a:prstGeom prst="diamond">
                  <a:avLst/>
                </a:prstGeom>
                <a:blipFill rotWithShape="1">
                  <a:blip r:embed="rId5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132" name="Diamond 30"/>
                <p:cNvSpPr/>
                <p:nvPr/>
              </p:nvSpPr>
              <p:spPr>
                <a:xfrm>
                  <a:off x="2488492" y="186889"/>
                  <a:ext cx="498713" cy="473911"/>
                </a:xfrm>
                <a:prstGeom prst="diamond">
                  <a:avLst/>
                </a:prstGeom>
                <a:blipFill rotWithShape="1">
                  <a:blip r:embed="rId6" cstate="print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n w="12700" cap="flat">
                  <a:noFill/>
                  <a:miter lim="400000"/>
                </a:ln>
                <a:effectLst>
                  <a:outerShdw blurRad="50800" dist="38100" dir="2700000" rotWithShape="0">
                    <a:srgbClr val="000000">
                      <a:alpha val="40000"/>
                    </a:srgbClr>
                  </a:outerShdw>
                </a:effectLst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  <p:sp>
              <p:nvSpPr>
                <p:cNvPr id="133" name="Diamond 31"/>
                <p:cNvSpPr/>
                <p:nvPr/>
              </p:nvSpPr>
              <p:spPr>
                <a:xfrm>
                  <a:off x="2270160" y="2502"/>
                  <a:ext cx="378833" cy="378811"/>
                </a:xfrm>
                <a:prstGeom prst="diamond">
                  <a:avLst/>
                </a:prstGeom>
                <a:solidFill>
                  <a:srgbClr val="D9D9D9">
                    <a:alpha val="49000"/>
                  </a:srgb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marL="0" marR="0" lvl="0" indent="0" algn="ctr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600">
                      <a:solidFill>
                        <a:srgbClr val="FFFFFF"/>
                      </a:solidFill>
                      <a:latin typeface="TH SarabunPSK"/>
                      <a:ea typeface="TH SarabunPSK"/>
                      <a:cs typeface="TH SarabunPSK"/>
                      <a:sym typeface="TH SarabunPSK"/>
                    </a:defRPr>
                  </a:pPr>
                  <a:endParaRPr kumimoji="0" sz="16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TH SarabunPSK"/>
                    <a:cs typeface="TH SarabunPSK"/>
                    <a:sym typeface="TH SarabunPSK"/>
                  </a:endParaRPr>
                </a:p>
              </p:txBody>
            </p:sp>
          </p:grpSp>
          <p:sp>
            <p:nvSpPr>
              <p:cNvPr id="135" name="Diamond 20"/>
              <p:cNvSpPr/>
              <p:nvPr/>
            </p:nvSpPr>
            <p:spPr>
              <a:xfrm>
                <a:off x="1470878" y="1984579"/>
                <a:ext cx="378833" cy="378811"/>
              </a:xfrm>
              <a:prstGeom prst="diamond">
                <a:avLst/>
              </a:prstGeom>
              <a:solidFill>
                <a:srgbClr val="C3D69B">
                  <a:alpha val="49000"/>
                </a:srgb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45719" tIns="45719" rIns="45719" bIns="45719" numCol="1" anchor="ctr">
                <a:noAutofit/>
              </a:bodyPr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600">
                    <a:solidFill>
                      <a:srgbClr val="FFFFFF"/>
                    </a:solidFill>
                    <a:latin typeface="TH SarabunPSK"/>
                    <a:ea typeface="TH SarabunPSK"/>
                    <a:cs typeface="TH SarabunPSK"/>
                    <a:sym typeface="TH SarabunPSK"/>
                  </a:defRPr>
                </a:pPr>
                <a:endParaRPr kumimoji="0" sz="16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H SarabunPSK"/>
                  <a:cs typeface="TH SarabunPSK"/>
                  <a:sym typeface="TH SarabunPSK"/>
                </a:endParaRPr>
              </a:p>
            </p:txBody>
          </p:sp>
        </p:grpSp>
        <p:sp>
          <p:nvSpPr>
            <p:cNvPr id="137" name="Diamond 36"/>
            <p:cNvSpPr/>
            <p:nvPr/>
          </p:nvSpPr>
          <p:spPr>
            <a:xfrm>
              <a:off x="4444323" y="3150632"/>
              <a:ext cx="2245100" cy="2244967"/>
            </a:xfrm>
            <a:prstGeom prst="diamond">
              <a:avLst/>
            </a:prstGeom>
            <a:solidFill>
              <a:srgbClr val="FFFFFF">
                <a:alpha val="52000"/>
              </a:srgbClr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600">
                  <a:solidFill>
                    <a:srgbClr val="FFFFFF"/>
                  </a:solidFill>
                  <a:latin typeface="TH SarabunPSK"/>
                  <a:ea typeface="TH SarabunPSK"/>
                  <a:cs typeface="TH SarabunPSK"/>
                  <a:sym typeface="TH SarabunPSK"/>
                </a:defRPr>
              </a:pPr>
              <a:endParaRPr kumimoji="0" sz="16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endParaRPr>
            </a:p>
          </p:txBody>
        </p:sp>
      </p:grpSp>
      <p:sp>
        <p:nvSpPr>
          <p:cNvPr id="139" name="Title Text"/>
          <p:cNvSpPr txBox="1">
            <a:spLocks noGrp="1"/>
          </p:cNvSpPr>
          <p:nvPr>
            <p:ph type="title"/>
          </p:nvPr>
        </p:nvSpPr>
        <p:spPr>
          <a:xfrm>
            <a:off x="722449" y="2747898"/>
            <a:ext cx="7771997" cy="1362206"/>
          </a:xfrm>
          <a:prstGeom prst="rect">
            <a:avLst/>
          </a:prstGeom>
        </p:spPr>
        <p:txBody>
          <a:bodyPr lIns="46648" tIns="46648" rIns="46648" bIns="46648">
            <a:normAutofit/>
          </a:bodyPr>
          <a:lstStyle>
            <a:lvl1pPr defTabSz="932962">
              <a:tabLst/>
              <a:defRPr sz="4100" cap="all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r>
              <a:t>Title Text</a:t>
            </a:r>
          </a:p>
        </p:txBody>
      </p:sp>
      <p:pic>
        <p:nvPicPr>
          <p:cNvPr id="140" name="Picture 33" descr="Picture 3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1184" y="5911715"/>
            <a:ext cx="2289219" cy="638535"/>
          </a:xfrm>
          <a:prstGeom prst="rect">
            <a:avLst/>
          </a:prstGeom>
          <a:ln w="12700">
            <a:miter lim="400000"/>
          </a:ln>
        </p:spPr>
      </p:pic>
      <p:sp>
        <p:nvSpPr>
          <p:cNvPr id="141" name="Straight Connector 32"/>
          <p:cNvSpPr/>
          <p:nvPr/>
        </p:nvSpPr>
        <p:spPr>
          <a:xfrm>
            <a:off x="714995" y="5840800"/>
            <a:ext cx="7779451" cy="1"/>
          </a:xfrm>
          <a:prstGeom prst="line">
            <a:avLst/>
          </a:prstGeom>
          <a:ln w="38100">
            <a:solidFill>
              <a:srgbClr val="A6A6A6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36447199"/>
      </p:ext>
    </p:extLst>
  </p:cSld>
  <p:clrMapOvr>
    <a:masterClrMapping/>
  </p:clrMapOvr>
  <p:transition spd="med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" name="Title Text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1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85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68763319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31861870"/>
      </p:ext>
    </p:extLst>
  </p:cSld>
  <p:clrMapOvr>
    <a:masterClrMapping/>
  </p:clrMapOvr>
  <p:transition spd="med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4" name="Title Text"/>
          <p:cNvSpPr txBox="1">
            <a:spLocks noGrp="1"/>
          </p:cNvSpPr>
          <p:nvPr>
            <p:ph type="title"/>
          </p:nvPr>
        </p:nvSpPr>
        <p:spPr>
          <a:xfrm>
            <a:off x="457201" y="273050"/>
            <a:ext cx="3008315" cy="1162051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>
            <a:lvl1pPr defTabSz="914400">
              <a:tabLst/>
              <a:defRPr sz="200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865" name="Body Level One…"/>
          <p:cNvSpPr txBox="1">
            <a:spLocks noGrp="1"/>
          </p:cNvSpPr>
          <p:nvPr>
            <p:ph type="body"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342900" indent="-342900" defTabSz="914400">
              <a:spcBef>
                <a:spcPts val="700"/>
              </a:spcBef>
              <a:buClrTx/>
              <a:buFont typeface="Arial"/>
              <a:defRPr sz="3200">
                <a:latin typeface="+mj-lt"/>
                <a:ea typeface="+mj-ea"/>
                <a:cs typeface="+mj-cs"/>
                <a:sym typeface="Calibri"/>
              </a:defRPr>
            </a:lvl1pPr>
            <a:lvl2pPr marL="783771" indent="-326571" defTabSz="914400">
              <a:spcBef>
                <a:spcPts val="700"/>
              </a:spcBef>
              <a:buClrTx/>
              <a:buSzPct val="100000"/>
              <a:buFont typeface="Arial"/>
              <a:buChar char="–"/>
              <a:defRPr sz="3200">
                <a:latin typeface="+mj-lt"/>
                <a:ea typeface="+mj-ea"/>
                <a:cs typeface="+mj-cs"/>
                <a:sym typeface="Calibri"/>
              </a:defRPr>
            </a:lvl2pPr>
            <a:lvl3pPr marL="1219200" indent="-304800" defTabSz="914400"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latin typeface="+mj-lt"/>
                <a:ea typeface="+mj-ea"/>
                <a:cs typeface="+mj-cs"/>
                <a:sym typeface="Calibri"/>
              </a:defRPr>
            </a:lvl3pPr>
            <a:lvl4pPr marL="1737360" indent="-365760" defTabSz="914400">
              <a:spcBef>
                <a:spcPts val="700"/>
              </a:spcBef>
              <a:buClrTx/>
              <a:buSzPct val="100000"/>
              <a:buFont typeface="Arial"/>
              <a:buChar char="–"/>
              <a:defRPr sz="3200">
                <a:latin typeface="+mj-lt"/>
                <a:ea typeface="+mj-ea"/>
                <a:cs typeface="+mj-cs"/>
                <a:sym typeface="Calibri"/>
              </a:defRPr>
            </a:lvl4pPr>
            <a:lvl5pPr marL="2194560" indent="-365760" defTabSz="914400">
              <a:spcBef>
                <a:spcPts val="700"/>
              </a:spcBef>
              <a:buClrTx/>
              <a:buSzPct val="100000"/>
              <a:buFont typeface="Arial"/>
              <a:buChar char="»"/>
              <a:defRPr sz="3200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66" name="Text Placeholder 3"/>
          <p:cNvSpPr>
            <a:spLocks noGrp="1"/>
          </p:cNvSpPr>
          <p:nvPr>
            <p:ph type="body" sz="half" idx="13"/>
          </p:nvPr>
        </p:nvSpPr>
        <p:spPr>
          <a:xfrm>
            <a:off x="457201" y="1435101"/>
            <a:ext cx="3008315" cy="4691063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/>
          <a:p>
            <a:pPr marL="0" indent="0" defTabSz="914400">
              <a:spcBef>
                <a:spcPts val="300"/>
              </a:spcBef>
              <a:buClrTx/>
              <a:buSzTx/>
              <a:buNone/>
              <a:defRPr sz="1400">
                <a:latin typeface="+mj-lt"/>
                <a:ea typeface="+mj-ea"/>
                <a:cs typeface="+mj-cs"/>
                <a:sym typeface="Calibri"/>
              </a:defRPr>
            </a:pPr>
            <a:endParaRPr/>
          </a:p>
        </p:txBody>
      </p:sp>
      <p:sp>
        <p:nvSpPr>
          <p:cNvPr id="86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71528797"/>
      </p:ext>
    </p:extLst>
  </p:cSld>
  <p:clrMapOvr>
    <a:masterClrMapping/>
  </p:clrMapOvr>
  <p:transition spd="med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4" name="Title Text"/>
          <p:cNvSpPr txBox="1">
            <a:spLocks noGrp="1"/>
          </p:cNvSpPr>
          <p:nvPr>
            <p:ph type="title"/>
          </p:nvPr>
        </p:nvSpPr>
        <p:spPr>
          <a:xfrm>
            <a:off x="1792288" y="4800600"/>
            <a:ext cx="5486401" cy="566738"/>
          </a:xfrm>
          <a:prstGeom prst="rect">
            <a:avLst/>
          </a:prstGeom>
        </p:spPr>
        <p:txBody>
          <a:bodyPr lIns="45719" tIns="45719" rIns="45719" bIns="45719" anchor="b">
            <a:normAutofit/>
          </a:bodyPr>
          <a:lstStyle>
            <a:lvl1pPr defTabSz="914400">
              <a:tabLst/>
              <a:defRPr sz="200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875" name="Picture Placeholder 2"/>
          <p:cNvSpPr>
            <a:spLocks noGrp="1"/>
          </p:cNvSpPr>
          <p:nvPr>
            <p:ph type="pic" sz="half" idx="13"/>
          </p:nvPr>
        </p:nvSpPr>
        <p:spPr>
          <a:xfrm>
            <a:off x="1792288" y="612775"/>
            <a:ext cx="5486401" cy="4114800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87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792288" y="5367337"/>
            <a:ext cx="5486401" cy="804863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0" indent="0" defTabSz="914400">
              <a:spcBef>
                <a:spcPts val="300"/>
              </a:spcBef>
              <a:buClrTx/>
              <a:buSzTx/>
              <a:buNone/>
              <a:defRPr sz="1400">
                <a:latin typeface="+mj-lt"/>
                <a:ea typeface="+mj-ea"/>
                <a:cs typeface="+mj-cs"/>
                <a:sym typeface="Calibri"/>
              </a:defRPr>
            </a:lvl1pPr>
            <a:lvl2pPr marL="0" indent="457200" defTabSz="914400">
              <a:spcBef>
                <a:spcPts val="300"/>
              </a:spcBef>
              <a:buClrTx/>
              <a:buSzTx/>
              <a:buNone/>
              <a:defRPr sz="1400">
                <a:latin typeface="+mj-lt"/>
                <a:ea typeface="+mj-ea"/>
                <a:cs typeface="+mj-cs"/>
                <a:sym typeface="Calibri"/>
              </a:defRPr>
            </a:lvl2pPr>
            <a:lvl3pPr marL="0" indent="914400" defTabSz="914400">
              <a:spcBef>
                <a:spcPts val="300"/>
              </a:spcBef>
              <a:buClrTx/>
              <a:buSzTx/>
              <a:buNone/>
              <a:defRPr sz="1400">
                <a:latin typeface="+mj-lt"/>
                <a:ea typeface="+mj-ea"/>
                <a:cs typeface="+mj-cs"/>
                <a:sym typeface="Calibri"/>
              </a:defRPr>
            </a:lvl3pPr>
            <a:lvl4pPr marL="0" indent="1371600" defTabSz="914400">
              <a:spcBef>
                <a:spcPts val="300"/>
              </a:spcBef>
              <a:buClrTx/>
              <a:buSzTx/>
              <a:buNone/>
              <a:defRPr sz="1400">
                <a:latin typeface="+mj-lt"/>
                <a:ea typeface="+mj-ea"/>
                <a:cs typeface="+mj-cs"/>
                <a:sym typeface="Calibri"/>
              </a:defRPr>
            </a:lvl4pPr>
            <a:lvl5pPr marL="0" indent="1828800" defTabSz="914400">
              <a:spcBef>
                <a:spcPts val="300"/>
              </a:spcBef>
              <a:buClrTx/>
              <a:buSzTx/>
              <a:buNone/>
              <a:defRPr sz="1400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7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97525082"/>
      </p:ext>
    </p:extLst>
  </p:cSld>
  <p:clrMapOvr>
    <a:masterClrMapping/>
  </p:clrMapOvr>
  <p:transition spd="med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4" name="Title Text"/>
          <p:cNvSpPr txBox="1">
            <a:spLocks noGrp="1"/>
          </p:cNvSpPr>
          <p:nvPr>
            <p:ph type="title"/>
          </p:nvPr>
        </p:nvSpPr>
        <p:spPr>
          <a:xfrm>
            <a:off x="457200" y="274638"/>
            <a:ext cx="8229600" cy="1143001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885" name="Body Level One…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342900" indent="-342900" defTabSz="914400">
              <a:spcBef>
                <a:spcPts val="700"/>
              </a:spcBef>
              <a:buClrTx/>
              <a:buFont typeface="Arial"/>
              <a:defRPr sz="3200">
                <a:latin typeface="+mj-lt"/>
                <a:ea typeface="+mj-ea"/>
                <a:cs typeface="+mj-cs"/>
                <a:sym typeface="Calibri"/>
              </a:defRPr>
            </a:lvl1pPr>
            <a:lvl2pPr marL="783771" indent="-326571" defTabSz="914400">
              <a:spcBef>
                <a:spcPts val="700"/>
              </a:spcBef>
              <a:buClrTx/>
              <a:buSzPct val="100000"/>
              <a:buFont typeface="Arial"/>
              <a:buChar char="–"/>
              <a:defRPr sz="3200">
                <a:latin typeface="+mj-lt"/>
                <a:ea typeface="+mj-ea"/>
                <a:cs typeface="+mj-cs"/>
                <a:sym typeface="Calibri"/>
              </a:defRPr>
            </a:lvl2pPr>
            <a:lvl3pPr marL="1219200" indent="-304800" defTabSz="914400"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latin typeface="+mj-lt"/>
                <a:ea typeface="+mj-ea"/>
                <a:cs typeface="+mj-cs"/>
                <a:sym typeface="Calibri"/>
              </a:defRPr>
            </a:lvl3pPr>
            <a:lvl4pPr marL="1737360" indent="-365760" defTabSz="914400">
              <a:spcBef>
                <a:spcPts val="700"/>
              </a:spcBef>
              <a:buClrTx/>
              <a:buSzPct val="100000"/>
              <a:buFont typeface="Arial"/>
              <a:buChar char="–"/>
              <a:defRPr sz="3200">
                <a:latin typeface="+mj-lt"/>
                <a:ea typeface="+mj-ea"/>
                <a:cs typeface="+mj-cs"/>
                <a:sym typeface="Calibri"/>
              </a:defRPr>
            </a:lvl4pPr>
            <a:lvl5pPr marL="2194560" indent="-365760" defTabSz="914400">
              <a:spcBef>
                <a:spcPts val="700"/>
              </a:spcBef>
              <a:buClrTx/>
              <a:buSzPct val="100000"/>
              <a:buFont typeface="Arial"/>
              <a:buChar char="»"/>
              <a:defRPr sz="3200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86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54900797"/>
      </p:ext>
    </p:extLst>
  </p:cSld>
  <p:clrMapOvr>
    <a:masterClrMapping/>
  </p:clrMapOvr>
  <p:transition spd="med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3" name="Title Text"/>
          <p:cNvSpPr txBox="1">
            <a:spLocks noGrp="1"/>
          </p:cNvSpPr>
          <p:nvPr>
            <p:ph type="title"/>
          </p:nvPr>
        </p:nvSpPr>
        <p:spPr>
          <a:xfrm>
            <a:off x="6629400" y="274639"/>
            <a:ext cx="2057400" cy="5851526"/>
          </a:xfrm>
          <a:prstGeom prst="rect">
            <a:avLst/>
          </a:prstGeom>
        </p:spPr>
        <p:txBody>
          <a:bodyPr lIns="45719" tIns="45719" rIns="45719" bIns="45719" anchor="ctr">
            <a:normAutofit/>
          </a:bodyPr>
          <a:lstStyle>
            <a:lvl1pPr algn="ctr" defTabSz="914400">
              <a:tabLst/>
              <a:defRPr sz="4400" b="0"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r>
              <a:t>Title Text</a:t>
            </a:r>
          </a:p>
        </p:txBody>
      </p:sp>
      <p:sp>
        <p:nvSpPr>
          <p:cNvPr id="894" name="Body Level One…"/>
          <p:cNvSpPr txBox="1">
            <a:spLocks noGrp="1"/>
          </p:cNvSpPr>
          <p:nvPr>
            <p:ph type="body" idx="1"/>
          </p:nvPr>
        </p:nvSpPr>
        <p:spPr>
          <a:xfrm>
            <a:off x="457200" y="274639"/>
            <a:ext cx="6019800" cy="5851526"/>
          </a:xfrm>
          <a:prstGeom prst="rect">
            <a:avLst/>
          </a:prstGeom>
        </p:spPr>
        <p:txBody>
          <a:bodyPr lIns="45719" tIns="45719" rIns="45719" bIns="45719">
            <a:normAutofit/>
          </a:bodyPr>
          <a:lstStyle>
            <a:lvl1pPr marL="342900" indent="-342900" defTabSz="914400">
              <a:spcBef>
                <a:spcPts val="700"/>
              </a:spcBef>
              <a:buClrTx/>
              <a:buFont typeface="Arial"/>
              <a:defRPr sz="3200">
                <a:latin typeface="+mj-lt"/>
                <a:ea typeface="+mj-ea"/>
                <a:cs typeface="+mj-cs"/>
                <a:sym typeface="Calibri"/>
              </a:defRPr>
            </a:lvl1pPr>
            <a:lvl2pPr marL="783771" indent="-326571" defTabSz="914400">
              <a:spcBef>
                <a:spcPts val="700"/>
              </a:spcBef>
              <a:buClrTx/>
              <a:buSzPct val="100000"/>
              <a:buFont typeface="Arial"/>
              <a:buChar char="–"/>
              <a:defRPr sz="3200">
                <a:latin typeface="+mj-lt"/>
                <a:ea typeface="+mj-ea"/>
                <a:cs typeface="+mj-cs"/>
                <a:sym typeface="Calibri"/>
              </a:defRPr>
            </a:lvl2pPr>
            <a:lvl3pPr marL="1219200" indent="-304800" defTabSz="914400">
              <a:spcBef>
                <a:spcPts val="700"/>
              </a:spcBef>
              <a:buClrTx/>
              <a:buSzPct val="100000"/>
              <a:buFont typeface="Arial"/>
              <a:buChar char="•"/>
              <a:defRPr sz="3200">
                <a:latin typeface="+mj-lt"/>
                <a:ea typeface="+mj-ea"/>
                <a:cs typeface="+mj-cs"/>
                <a:sym typeface="Calibri"/>
              </a:defRPr>
            </a:lvl3pPr>
            <a:lvl4pPr marL="1737360" indent="-365760" defTabSz="914400">
              <a:spcBef>
                <a:spcPts val="700"/>
              </a:spcBef>
              <a:buClrTx/>
              <a:buSzPct val="100000"/>
              <a:buFont typeface="Arial"/>
              <a:buChar char="–"/>
              <a:defRPr sz="3200">
                <a:latin typeface="+mj-lt"/>
                <a:ea typeface="+mj-ea"/>
                <a:cs typeface="+mj-cs"/>
                <a:sym typeface="Calibri"/>
              </a:defRPr>
            </a:lvl4pPr>
            <a:lvl5pPr marL="2194560" indent="-365760" defTabSz="914400">
              <a:spcBef>
                <a:spcPts val="700"/>
              </a:spcBef>
              <a:buClrTx/>
              <a:buSzPct val="100000"/>
              <a:buFont typeface="Arial"/>
              <a:buChar char="»"/>
              <a:defRPr sz="3200">
                <a:latin typeface="+mj-lt"/>
                <a:ea typeface="+mj-ea"/>
                <a:cs typeface="+mj-cs"/>
                <a:sym typeface="Calibri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895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422818" y="6404294"/>
            <a:ext cx="263983" cy="26924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>
                <a:solidFill>
                  <a:srgbClr val="888888"/>
                </a:solidFill>
                <a:latin typeface="+mj-lt"/>
                <a:ea typeface="+mj-ea"/>
                <a:cs typeface="+mj-cs"/>
                <a:sym typeface="Calibri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  <a:latin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34676371"/>
      </p:ext>
    </p:extLst>
  </p:cSld>
  <p:clrMapOvr>
    <a:masterClrMapping/>
  </p:clrMapOvr>
  <p:transition spd="med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2" name="Rectangle 6"/>
          <p:cNvSpPr/>
          <p:nvPr/>
        </p:nvSpPr>
        <p:spPr>
          <a:xfrm>
            <a:off x="0" y="6617350"/>
            <a:ext cx="9144000" cy="240001"/>
          </a:xfrm>
          <a:prstGeom prst="rect">
            <a:avLst/>
          </a:prstGeom>
          <a:solidFill>
            <a:srgbClr val="0070C0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DSN KaMon"/>
                <a:ea typeface="DSN KaMon"/>
                <a:cs typeface="DSN KaMon"/>
                <a:sym typeface="DSN KaMon"/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DSN KaMon"/>
              <a:sym typeface="DSN KaMon"/>
            </a:endParaRPr>
          </a:p>
        </p:txBody>
      </p:sp>
      <p:sp>
        <p:nvSpPr>
          <p:cNvPr id="90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870348" y="6602732"/>
            <a:ext cx="273652" cy="269237"/>
          </a:xfrm>
          <a:prstGeom prst="rect">
            <a:avLst/>
          </a:prstGeom>
        </p:spPr>
        <p:txBody>
          <a:bodyPr lIns="45718" tIns="45718" rIns="45718" bIns="45718" anchor="ctr"/>
          <a:lstStyle>
            <a:lvl1pPr>
              <a:defRPr sz="1200" b="1">
                <a:solidFill>
                  <a:srgbClr val="FFFF00"/>
                </a:solidFill>
                <a:latin typeface="DSN KaMon"/>
                <a:ea typeface="DSN KaMon"/>
                <a:cs typeface="DSN KaMon"/>
                <a:sym typeface="DSN KaMon"/>
              </a:defRPr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1" i="0" u="none" strike="noStrike" kern="0" cap="none" spc="0" normalizeH="0" baseline="0" noProof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DSN KaMon"/>
                <a:sym typeface="DSN KaMon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FFFF00"/>
              </a:solidFill>
              <a:effectLst/>
              <a:uLnTx/>
              <a:uFillTx/>
              <a:latin typeface="DSN KaMon"/>
              <a:sym typeface="DSN KaMon"/>
            </a:endParaRPr>
          </a:p>
        </p:txBody>
      </p:sp>
    </p:spTree>
    <p:extLst>
      <p:ext uri="{BB962C8B-B14F-4D97-AF65-F5344CB8AC3E}">
        <p14:creationId xmlns:p14="http://schemas.microsoft.com/office/powerpoint/2010/main" val="3202425086"/>
      </p:ext>
    </p:extLst>
  </p:cSld>
  <p:clrMapOvr>
    <a:masterClrMapping/>
  </p:clrMapOvr>
  <p:transition spd="med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0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419600" y="6172200"/>
            <a:ext cx="2133600" cy="36830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39500677"/>
      </p:ext>
    </p:extLst>
  </p:cSld>
  <p:clrMapOvr>
    <a:masterClrMapping/>
  </p:clrMapOvr>
  <p:transition spd="med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7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419600" y="6172200"/>
            <a:ext cx="2133600" cy="36830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96666140"/>
      </p:ext>
    </p:extLst>
  </p:cSld>
  <p:clrMapOvr>
    <a:masterClrMapping/>
  </p:clrMapOvr>
  <p:transition spd="med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419600" y="6172200"/>
            <a:ext cx="2133600" cy="36830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08935701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" name="Rounded Rectangle 15"/>
          <p:cNvSpPr/>
          <p:nvPr/>
        </p:nvSpPr>
        <p:spPr>
          <a:xfrm>
            <a:off x="456794" y="75979"/>
            <a:ext cx="8230412" cy="741448"/>
          </a:xfrm>
          <a:prstGeom prst="roundRect">
            <a:avLst>
              <a:gd name="adj" fmla="val 16667"/>
            </a:avLst>
          </a:prstGeom>
          <a:solidFill>
            <a:srgbClr val="FF3300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149" name="Title Text"/>
          <p:cNvSpPr txBox="1">
            <a:spLocks noGrp="1"/>
          </p:cNvSpPr>
          <p:nvPr>
            <p:ph type="title"/>
          </p:nvPr>
        </p:nvSpPr>
        <p:spPr>
          <a:xfrm>
            <a:off x="456794" y="92469"/>
            <a:ext cx="8230412" cy="738209"/>
          </a:xfrm>
          <a:prstGeom prst="rect">
            <a:avLst/>
          </a:prstGeom>
        </p:spPr>
        <p:txBody>
          <a:bodyPr lIns="46648" tIns="46648" rIns="46648" bIns="46648" anchor="ctr">
            <a:normAutofit/>
          </a:bodyPr>
          <a:lstStyle>
            <a:lvl1pPr algn="ctr" defTabSz="932962">
              <a:tabLst/>
              <a:defRPr sz="4500" b="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r>
              <a:t>Title Text</a:t>
            </a:r>
          </a:p>
        </p:txBody>
      </p:sp>
      <p:sp>
        <p:nvSpPr>
          <p:cNvPr id="150" name="Straight Connector 7"/>
          <p:cNvSpPr/>
          <p:nvPr/>
        </p:nvSpPr>
        <p:spPr>
          <a:xfrm flipV="1">
            <a:off x="2390885" y="6792367"/>
            <a:ext cx="6722465" cy="17041"/>
          </a:xfrm>
          <a:prstGeom prst="line">
            <a:avLst/>
          </a:prstGeom>
          <a:ln w="57150">
            <a:solidFill>
              <a:srgbClr val="FF7A00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51" name="Straight Connector 8"/>
          <p:cNvSpPr/>
          <p:nvPr/>
        </p:nvSpPr>
        <p:spPr>
          <a:xfrm flipV="1">
            <a:off x="1225994" y="6738055"/>
            <a:ext cx="5047556" cy="9719"/>
          </a:xfrm>
          <a:prstGeom prst="line">
            <a:avLst/>
          </a:prstGeom>
          <a:ln w="38100">
            <a:solidFill>
              <a:srgbClr val="9BBB59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52" name="Picture 9" descr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524166"/>
            <a:ext cx="1196836" cy="333836"/>
          </a:xfrm>
          <a:prstGeom prst="rect">
            <a:avLst/>
          </a:prstGeom>
          <a:ln w="12700">
            <a:miter lim="400000"/>
          </a:ln>
        </p:spPr>
      </p:pic>
      <p:sp>
        <p:nvSpPr>
          <p:cNvPr id="15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8420" y="6453472"/>
            <a:ext cx="514268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ctr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154" name="Diamond 11"/>
          <p:cNvSpPr/>
          <p:nvPr/>
        </p:nvSpPr>
        <p:spPr>
          <a:xfrm>
            <a:off x="55471" y="92764"/>
            <a:ext cx="751211" cy="751167"/>
          </a:xfrm>
          <a:prstGeom prst="diamond">
            <a:avLst/>
          </a:prstGeom>
          <a:solidFill>
            <a:srgbClr val="E2E2E2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155" name="Diamond 12"/>
          <p:cNvSpPr/>
          <p:nvPr/>
        </p:nvSpPr>
        <p:spPr>
          <a:xfrm>
            <a:off x="369323" y="143161"/>
            <a:ext cx="377719" cy="377698"/>
          </a:xfrm>
          <a:prstGeom prst="diamond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156" name="Diamond 13"/>
          <p:cNvSpPr/>
          <p:nvPr/>
        </p:nvSpPr>
        <p:spPr>
          <a:xfrm>
            <a:off x="8311599" y="102481"/>
            <a:ext cx="751211" cy="751168"/>
          </a:xfrm>
          <a:prstGeom prst="diamond">
            <a:avLst/>
          </a:prstGeom>
          <a:solidFill>
            <a:srgbClr val="E2E2E2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157" name="Diamond 14"/>
          <p:cNvSpPr/>
          <p:nvPr/>
        </p:nvSpPr>
        <p:spPr>
          <a:xfrm>
            <a:off x="8311601" y="143161"/>
            <a:ext cx="377719" cy="377698"/>
          </a:xfrm>
          <a:prstGeom prst="diamond">
            <a:avLst/>
          </a:prstGeom>
          <a:solidFill>
            <a:srgbClr val="FFFFFF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</p:spTree>
    <p:extLst>
      <p:ext uri="{BB962C8B-B14F-4D97-AF65-F5344CB8AC3E}">
        <p14:creationId xmlns:p14="http://schemas.microsoft.com/office/powerpoint/2010/main" val="1543422470"/>
      </p:ext>
    </p:extLst>
  </p:cSld>
  <p:clrMapOvr>
    <a:masterClrMapping/>
  </p:clrMapOvr>
  <p:transition spd="med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419600" y="6172200"/>
            <a:ext cx="2133600" cy="36830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95344516"/>
      </p:ext>
    </p:extLst>
  </p:cSld>
  <p:clrMapOvr>
    <a:masterClrMapping/>
  </p:clrMapOvr>
  <p:transition spd="med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8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4419600" y="6172200"/>
            <a:ext cx="2133600" cy="368301"/>
          </a:xfrm>
          <a:prstGeom prst="rect">
            <a:avLst/>
          </a:prstGeom>
        </p:spPr>
        <p:txBody>
          <a:bodyPr lIns="45719" tIns="45719" rIns="45719" bIns="45719" anchor="ctr"/>
          <a:lstStyle>
            <a:lvl1pPr>
              <a:defRPr sz="12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96171687"/>
      </p:ext>
    </p:extLst>
  </p:cSld>
  <p:clrMapOvr>
    <a:masterClrMapping/>
  </p:clrMapOvr>
  <p:transition spd="med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ounded Rectangle 15"/>
          <p:cNvSpPr/>
          <p:nvPr userDrawn="1"/>
        </p:nvSpPr>
        <p:spPr>
          <a:xfrm>
            <a:off x="456795" y="75980"/>
            <a:ext cx="8230410" cy="741447"/>
          </a:xfrm>
          <a:prstGeom prst="roundRect">
            <a:avLst/>
          </a:prstGeom>
          <a:solidFill>
            <a:srgbClr val="FF3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marL="0" marR="0" lvl="0" indent="0" algn="ctr" defTabSz="9144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h-TH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92470"/>
            <a:ext cx="8230410" cy="7382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th-TH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-9719" y="6482221"/>
            <a:ext cx="2133330" cy="366062"/>
          </a:xfrm>
          <a:prstGeom prst="rect">
            <a:avLst/>
          </a:prstGeom>
        </p:spPr>
        <p:txBody>
          <a:bodyPr lIns="93286" tIns="46643" rIns="93286" bIns="46643"/>
          <a:lstStyle/>
          <a:p>
            <a:pPr marL="0" marR="0" lvl="0" indent="0" algn="l" defTabSz="9144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A25CE35-460D-4CFA-9592-60F76CF6DDF4}" type="datetime1">
              <a:rPr kumimoji="0" lang="en-US" sz="16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sym typeface="Arial"/>
              </a:rPr>
              <a:t>7/9/2019</a:t>
            </a:fld>
            <a:endParaRPr kumimoji="0" lang="th-TH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sym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th-TH" sz="1800" b="0" i="0" u="none" strike="noStrike" kern="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Arial"/>
              <a:sym typeface="Arial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2390886" y="6792368"/>
            <a:ext cx="6722463" cy="17040"/>
          </a:xfrm>
          <a:prstGeom prst="line">
            <a:avLst/>
          </a:prstGeom>
          <a:ln w="57150">
            <a:solidFill>
              <a:srgbClr val="FF7A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>
          <a:xfrm flipV="1">
            <a:off x="1225995" y="6738055"/>
            <a:ext cx="5047555" cy="9718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524167"/>
            <a:ext cx="1196836" cy="333835"/>
          </a:xfrm>
          <a:prstGeom prst="rect">
            <a:avLst/>
          </a:prstGeom>
        </p:spPr>
      </p:pic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lIns="0" rIns="0"/>
          <a:lstStyle>
            <a:lvl1pPr algn="ctr">
              <a:defRPr/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95B05E-FFCB-485A-89CB-4977D2E12173}" type="slidenum">
              <a:rPr kumimoji="0" lang="th-TH" sz="10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sym typeface="Arial"/>
              </a:rPr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th-TH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sym typeface="Arial"/>
            </a:endParaRPr>
          </a:p>
        </p:txBody>
      </p:sp>
      <p:sp>
        <p:nvSpPr>
          <p:cNvPr id="12" name="Diamond 11"/>
          <p:cNvSpPr/>
          <p:nvPr userDrawn="1"/>
        </p:nvSpPr>
        <p:spPr>
          <a:xfrm>
            <a:off x="55471" y="92764"/>
            <a:ext cx="751210" cy="751166"/>
          </a:xfrm>
          <a:prstGeom prst="diamond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marL="0" marR="0" lvl="0" indent="0" algn="ctr" defTabSz="9144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h-TH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sym typeface="Arial"/>
            </a:endParaRPr>
          </a:p>
        </p:txBody>
      </p:sp>
      <p:sp>
        <p:nvSpPr>
          <p:cNvPr id="13" name="Diamond 12"/>
          <p:cNvSpPr/>
          <p:nvPr userDrawn="1"/>
        </p:nvSpPr>
        <p:spPr>
          <a:xfrm>
            <a:off x="369324" y="143162"/>
            <a:ext cx="377718" cy="377696"/>
          </a:xfrm>
          <a:prstGeom prst="diamond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marL="0" marR="0" lvl="0" indent="0" algn="ctr" defTabSz="9144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h-TH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sym typeface="Arial"/>
            </a:endParaRPr>
          </a:p>
        </p:txBody>
      </p:sp>
      <p:sp>
        <p:nvSpPr>
          <p:cNvPr id="14" name="Diamond 13"/>
          <p:cNvSpPr/>
          <p:nvPr userDrawn="1"/>
        </p:nvSpPr>
        <p:spPr>
          <a:xfrm>
            <a:off x="8311600" y="102482"/>
            <a:ext cx="751210" cy="751166"/>
          </a:xfrm>
          <a:prstGeom prst="diamond">
            <a:avLst/>
          </a:prstGeom>
          <a:solidFill>
            <a:srgbClr val="E2E2E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marL="0" marR="0" lvl="0" indent="0" algn="ctr" defTabSz="9144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h-TH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sym typeface="Arial"/>
            </a:endParaRPr>
          </a:p>
        </p:txBody>
      </p:sp>
      <p:sp>
        <p:nvSpPr>
          <p:cNvPr id="15" name="Diamond 14"/>
          <p:cNvSpPr/>
          <p:nvPr userDrawn="1"/>
        </p:nvSpPr>
        <p:spPr>
          <a:xfrm>
            <a:off x="8311602" y="143162"/>
            <a:ext cx="377718" cy="377696"/>
          </a:xfrm>
          <a:prstGeom prst="diamond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marL="0" marR="0" lvl="0" indent="0" algn="ctr" defTabSz="914400" rtl="0" eaLnBrk="1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th-TH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78968341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55776" y="0"/>
            <a:ext cx="6588224" cy="620688"/>
          </a:xfrm>
          <a:prstGeom prst="rect">
            <a:avLst/>
          </a:prstGeom>
          <a:solidFill>
            <a:srgbClr val="FF0000"/>
          </a:solidFill>
        </p:spPr>
        <p:txBody>
          <a:bodyPr/>
          <a:lstStyle>
            <a:lvl1pPr>
              <a:defRPr sz="280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908723"/>
            <a:ext cx="8352928" cy="5145436"/>
          </a:xfrm>
        </p:spPr>
        <p:txBody>
          <a:bodyPr/>
          <a:lstStyle>
            <a:lvl1pPr>
              <a:lnSpc>
                <a:spcPct val="122000"/>
              </a:lnSpc>
              <a:defRPr sz="240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lnSpc>
                <a:spcPct val="122000"/>
              </a:lnSpc>
              <a:defRPr sz="2000">
                <a:latin typeface="Tahoma" pitchFamily="34" charset="0"/>
                <a:ea typeface="Tahoma" pitchFamily="34" charset="0"/>
                <a:cs typeface="Tahoma" pitchFamily="34" charset="0"/>
              </a:defRPr>
            </a:lvl2pPr>
            <a:lvl3pPr>
              <a:lnSpc>
                <a:spcPct val="122000"/>
              </a:lnSpc>
              <a:defRPr sz="1800">
                <a:latin typeface="Tahoma" pitchFamily="34" charset="0"/>
                <a:ea typeface="Tahoma" pitchFamily="34" charset="0"/>
                <a:cs typeface="Tahoma" pitchFamily="34" charset="0"/>
              </a:defRPr>
            </a:lvl3pPr>
            <a:lvl4pPr>
              <a:lnSpc>
                <a:spcPct val="122000"/>
              </a:lnSpc>
              <a:defRPr sz="1600">
                <a:latin typeface="Tahoma" pitchFamily="34" charset="0"/>
                <a:ea typeface="Tahoma" pitchFamily="34" charset="0"/>
                <a:cs typeface="Tahoma" pitchFamily="34" charset="0"/>
              </a:defRPr>
            </a:lvl4pPr>
            <a:lvl5pPr>
              <a:lnSpc>
                <a:spcPct val="122000"/>
              </a:lnSpc>
              <a:defRPr sz="1600">
                <a:latin typeface="Tahoma" pitchFamily="34" charset="0"/>
                <a:ea typeface="Tahoma" pitchFamily="34" charset="0"/>
                <a:cs typeface="Tahoma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5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82C923F-686D-421A-A339-E87C8E7E8287}" type="datetime1">
              <a:rPr kumimoji="0" lang="en-US" sz="105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/9/2019</a:t>
            </a:fld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50"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 smtClean="0">
                <a:latin typeface="Tahoma" pitchFamily="34" charset="0"/>
                <a:cs typeface="Tahoma" pitchFamily="34" charset="0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CC8D51-5B81-4427-8368-374905FFCA51}" type="slidenum">
              <a:rPr kumimoji="0" lang="en-US" altLang="th-TH" sz="1000" b="0" i="0" u="none" strike="noStrike" kern="1200" cap="none" spc="0" normalizeH="0" baseline="0" noProof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th-TH" sz="10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351934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239"/>
          <p:cNvGraphicFramePr>
            <a:graphicFrameLocks noChangeAspect="1"/>
          </p:cNvGraphicFramePr>
          <p:nvPr/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"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3" name="Object 12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McK 1. On-page tracker" hidden="1"/>
          <p:cNvSpPr>
            <a:spLocks noChangeArrowheads="1"/>
          </p:cNvSpPr>
          <p:nvPr/>
        </p:nvSpPr>
        <p:spPr bwMode="auto">
          <a:xfrm>
            <a:off x="212200" y="17818"/>
            <a:ext cx="877954" cy="220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rPr>
              <a:t>TRACKER</a:t>
            </a:r>
          </a:p>
        </p:txBody>
      </p:sp>
      <p:sp>
        <p:nvSpPr>
          <p:cNvPr id="5" name="McK 3. Unit of measure" hidden="1"/>
          <p:cNvSpPr txBox="1">
            <a:spLocks noChangeArrowheads="1"/>
          </p:cNvSpPr>
          <p:nvPr/>
        </p:nvSpPr>
        <p:spPr bwMode="auto">
          <a:xfrm>
            <a:off x="213819" y="531277"/>
            <a:ext cx="8794114" cy="25106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rPr>
              <a:t>Unit of measure</a:t>
            </a:r>
          </a:p>
        </p:txBody>
      </p:sp>
      <p:grpSp>
        <p:nvGrpSpPr>
          <p:cNvPr id="6" name="ACET" hidden="1"/>
          <p:cNvGrpSpPr>
            <a:grpSpLocks/>
          </p:cNvGrpSpPr>
          <p:nvPr/>
        </p:nvGrpSpPr>
        <p:grpSpPr bwMode="auto">
          <a:xfrm>
            <a:off x="2377926" y="1783340"/>
            <a:ext cx="4389768" cy="518318"/>
            <a:chOff x="915" y="710"/>
            <a:chExt cx="2686" cy="320"/>
          </a:xfrm>
        </p:grpSpPr>
        <p:cxnSp>
          <p:nvCxnSpPr>
            <p:cNvPr id="7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8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1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rPr>
                <a:t>Title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1600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MS PGothic" panose="020B0600070205080204" pitchFamily="34" charset="-128"/>
                  <a:cs typeface="+mn-cs"/>
                </a:rPr>
                <a:t>Unit of measure</a:t>
              </a:r>
            </a:p>
          </p:txBody>
        </p:sp>
      </p:grpSp>
      <p:grpSp>
        <p:nvGrpSpPr>
          <p:cNvPr id="9" name="LegendBoxes" hidden="1"/>
          <p:cNvGrpSpPr>
            <a:grpSpLocks/>
          </p:cNvGrpSpPr>
          <p:nvPr/>
        </p:nvGrpSpPr>
        <p:grpSpPr bwMode="auto">
          <a:xfrm>
            <a:off x="8227171" y="296414"/>
            <a:ext cx="779143" cy="1017200"/>
            <a:chOff x="4936" y="176"/>
            <a:chExt cx="481" cy="628"/>
          </a:xfrm>
        </p:grpSpPr>
        <p:sp>
          <p:nvSpPr>
            <p:cNvPr id="10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1pPr>
              <a:lvl2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2pPr>
              <a:lvl3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3pPr>
              <a:lvl4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4pPr>
              <a:lvl5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5pPr>
              <a:lvl6pPr marL="22780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6pPr>
              <a:lvl7pPr marL="27352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7pPr>
              <a:lvl8pPr marL="31924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8pPr>
              <a:lvl9pPr marL="36496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9pPr>
            </a:lstStyle>
            <a:p>
              <a:pPr marL="0" marR="0" lvl="0" indent="0" algn="l" defTabSz="8905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ngsana New" panose="02020603050405020304" pitchFamily="18" charset="-34"/>
                </a:rPr>
                <a:t>Legend</a:t>
              </a:r>
            </a:p>
          </p:txBody>
        </p:sp>
        <p:sp>
          <p:nvSpPr>
            <p:cNvPr id="11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12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1pPr>
              <a:lvl2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2pPr>
              <a:lvl3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3pPr>
              <a:lvl4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4pPr>
              <a:lvl5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5pPr>
              <a:lvl6pPr marL="22780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6pPr>
              <a:lvl7pPr marL="27352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7pPr>
              <a:lvl8pPr marL="31924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8pPr>
              <a:lvl9pPr marL="36496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9pPr>
            </a:lstStyle>
            <a:p>
              <a:pPr marL="0" marR="0" lvl="0" indent="0" algn="l" defTabSz="8905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ngsana New" panose="02020603050405020304" pitchFamily="18" charset="-34"/>
                </a:rPr>
                <a:t>Legend</a:t>
              </a:r>
            </a:p>
          </p:txBody>
        </p:sp>
        <p:sp>
          <p:nvSpPr>
            <p:cNvPr id="13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14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1pPr>
              <a:lvl2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2pPr>
              <a:lvl3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3pPr>
              <a:lvl4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4pPr>
              <a:lvl5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5pPr>
              <a:lvl6pPr marL="22780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6pPr>
              <a:lvl7pPr marL="27352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7pPr>
              <a:lvl8pPr marL="31924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8pPr>
              <a:lvl9pPr marL="36496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9pPr>
            </a:lstStyle>
            <a:p>
              <a:pPr marL="0" marR="0" lvl="0" indent="0" algn="l" defTabSz="8905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ngsana New" panose="02020603050405020304" pitchFamily="18" charset="-34"/>
                </a:rPr>
                <a:t>Legend</a:t>
              </a:r>
            </a:p>
          </p:txBody>
        </p:sp>
        <p:sp>
          <p:nvSpPr>
            <p:cNvPr id="15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  <p:sp>
          <p:nvSpPr>
            <p:cNvPr id="16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1pPr>
              <a:lvl2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2pPr>
              <a:lvl3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3pPr>
              <a:lvl4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4pPr>
              <a:lvl5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5pPr>
              <a:lvl6pPr marL="22780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6pPr>
              <a:lvl7pPr marL="27352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7pPr>
              <a:lvl8pPr marL="31924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8pPr>
              <a:lvl9pPr marL="36496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9pPr>
            </a:lstStyle>
            <a:p>
              <a:pPr marL="0" marR="0" lvl="0" indent="0" algn="l" defTabSz="8905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ngsana New" panose="02020603050405020304" pitchFamily="18" charset="-34"/>
                </a:rPr>
                <a:t>Legend</a:t>
              </a:r>
            </a:p>
          </p:txBody>
        </p:sp>
        <p:sp>
          <p:nvSpPr>
            <p:cNvPr id="17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MS PGothic" panose="020B0600070205080204" pitchFamily="34" charset="-128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+mn-cs"/>
              </a:endParaRPr>
            </a:p>
          </p:txBody>
        </p:sp>
      </p:grpSp>
      <p:grpSp>
        <p:nvGrpSpPr>
          <p:cNvPr id="18" name="LegendLines" hidden="1"/>
          <p:cNvGrpSpPr>
            <a:grpSpLocks/>
          </p:cNvGrpSpPr>
          <p:nvPr/>
        </p:nvGrpSpPr>
        <p:grpSpPr bwMode="auto">
          <a:xfrm>
            <a:off x="7914541" y="296414"/>
            <a:ext cx="1093393" cy="745083"/>
            <a:chOff x="4750" y="176"/>
            <a:chExt cx="675" cy="460"/>
          </a:xfrm>
        </p:grpSpPr>
        <p:sp>
          <p:nvSpPr>
            <p:cNvPr id="19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0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1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22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1pPr>
              <a:lvl2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2pPr>
              <a:lvl3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3pPr>
              <a:lvl4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4pPr>
              <a:lvl5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5pPr>
              <a:lvl6pPr marL="22780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6pPr>
              <a:lvl7pPr marL="27352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7pPr>
              <a:lvl8pPr marL="31924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8pPr>
              <a:lvl9pPr marL="36496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9pPr>
            </a:lstStyle>
            <a:p>
              <a:pPr marL="0" marR="0" lvl="0" indent="0" algn="l" defTabSz="8905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ngsana New" panose="02020603050405020304" pitchFamily="18" charset="-34"/>
                </a:rPr>
                <a:t>Legend</a:t>
              </a:r>
            </a:p>
          </p:txBody>
        </p:sp>
        <p:sp>
          <p:nvSpPr>
            <p:cNvPr id="23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1pPr>
              <a:lvl2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2pPr>
              <a:lvl3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3pPr>
              <a:lvl4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4pPr>
              <a:lvl5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5pPr>
              <a:lvl6pPr marL="22780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6pPr>
              <a:lvl7pPr marL="27352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7pPr>
              <a:lvl8pPr marL="31924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8pPr>
              <a:lvl9pPr marL="36496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9pPr>
            </a:lstStyle>
            <a:p>
              <a:pPr marL="0" marR="0" lvl="0" indent="0" algn="l" defTabSz="8905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ngsana New" panose="02020603050405020304" pitchFamily="18" charset="-34"/>
                </a:rPr>
                <a:t>Legend</a:t>
              </a:r>
            </a:p>
          </p:txBody>
        </p:sp>
        <p:sp>
          <p:nvSpPr>
            <p:cNvPr id="24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1pPr>
              <a:lvl2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2pPr>
              <a:lvl3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3pPr>
              <a:lvl4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4pPr>
              <a:lvl5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5pPr>
              <a:lvl6pPr marL="22780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6pPr>
              <a:lvl7pPr marL="27352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7pPr>
              <a:lvl8pPr marL="31924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8pPr>
              <a:lvl9pPr marL="36496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9pPr>
            </a:lstStyle>
            <a:p>
              <a:pPr marL="0" marR="0" lvl="0" indent="0" algn="l" defTabSz="8905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ngsana New" panose="02020603050405020304" pitchFamily="18" charset="-34"/>
                </a:rPr>
                <a:t>Legend</a:t>
              </a:r>
            </a:p>
          </p:txBody>
        </p:sp>
      </p:grpSp>
      <p:grpSp>
        <p:nvGrpSpPr>
          <p:cNvPr id="25" name="McKSticker" hidden="1"/>
          <p:cNvGrpSpPr>
            <a:grpSpLocks/>
          </p:cNvGrpSpPr>
          <p:nvPr/>
        </p:nvGrpSpPr>
        <p:grpSpPr bwMode="auto">
          <a:xfrm>
            <a:off x="7917780" y="296414"/>
            <a:ext cx="1090153" cy="217046"/>
            <a:chOff x="7673880" y="285750"/>
            <a:chExt cx="1066895" cy="212366"/>
          </a:xfrm>
        </p:grpSpPr>
        <p:sp>
          <p:nvSpPr>
            <p:cNvPr id="26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1pPr>
              <a:lvl2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2pPr>
              <a:lvl3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3pPr>
              <a:lvl4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4pPr>
              <a:lvl5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5pPr>
              <a:lvl6pPr marL="22780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6pPr>
              <a:lvl7pPr marL="27352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7pPr>
              <a:lvl8pPr marL="31924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8pPr>
              <a:lvl9pPr marL="36496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9pPr>
            </a:lstStyle>
            <a:p>
              <a:pPr marL="0" marR="0" lvl="0" indent="0" algn="r" defTabSz="8905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ngsana New" panose="02020603050405020304" pitchFamily="18" charset="-34"/>
                </a:rPr>
                <a:t>PRELIMINARY</a:t>
              </a:r>
            </a:p>
          </p:txBody>
        </p:sp>
        <p:cxnSp>
          <p:nvCxnSpPr>
            <p:cNvPr id="27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9" name="McK Slide Elements" hidden="1"/>
          <p:cNvGrpSpPr>
            <a:grpSpLocks/>
          </p:cNvGrpSpPr>
          <p:nvPr/>
        </p:nvGrpSpPr>
        <p:grpSpPr bwMode="auto">
          <a:xfrm>
            <a:off x="213819" y="6417430"/>
            <a:ext cx="6725578" cy="366062"/>
            <a:chOff x="208756" y="6230049"/>
            <a:chExt cx="6592095" cy="358820"/>
          </a:xfrm>
        </p:grpSpPr>
        <p:sp>
          <p:nvSpPr>
            <p:cNvPr id="30" name="McK 4. Footnote"/>
            <p:cNvSpPr txBox="1"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>
              <a:off x="208756" y="6230049"/>
              <a:ext cx="6592095" cy="154007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104775" marR="0" lvl="0" indent="-104775" algn="l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rPr>
                <a:t>1 Footnote</a:t>
              </a:r>
            </a:p>
          </p:txBody>
        </p:sp>
        <p:sp>
          <p:nvSpPr>
            <p:cNvPr id="31" name="McK 5. Source"/>
            <p:cNvSpPr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208756" y="6434863"/>
              <a:ext cx="6592095" cy="1540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b">
              <a:spAutoFit/>
            </a:bodyPr>
            <a:lstStyle>
              <a:lvl1pPr marL="466725" indent="-466725" defTabSz="890588">
                <a:tabLst>
                  <a:tab pos="47625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1pPr>
              <a:lvl2pPr defTabSz="890588">
                <a:tabLst>
                  <a:tab pos="47625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2pPr>
              <a:lvl3pPr defTabSz="890588">
                <a:tabLst>
                  <a:tab pos="47625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3pPr>
              <a:lvl4pPr defTabSz="890588">
                <a:tabLst>
                  <a:tab pos="47625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4pPr>
              <a:lvl5pPr defTabSz="890588">
                <a:tabLst>
                  <a:tab pos="47625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5pPr>
              <a:lvl6pPr marL="22780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625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6pPr>
              <a:lvl7pPr marL="27352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625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7pPr>
              <a:lvl8pPr marL="31924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625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8pPr>
              <a:lvl9pPr marL="36496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76250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9pPr>
            </a:lstStyle>
            <a:p>
              <a:pPr marL="466725" marR="0" lvl="0" indent="-466725" algn="l" defTabSz="8905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476250" algn="l"/>
                </a:tabLst>
                <a:defRPr/>
              </a:pPr>
              <a:r>
                <a:rPr kumimoji="0" lang="en-US" sz="10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ngsana New" panose="02020603050405020304" pitchFamily="18" charset="-34"/>
                </a:rPr>
                <a:t>Source: Source</a:t>
              </a:r>
            </a:p>
          </p:txBody>
        </p:sp>
      </p:grpSp>
      <p:sp>
        <p:nvSpPr>
          <p:cNvPr id="32" name="Slide Number"/>
          <p:cNvSpPr txBox="1">
            <a:spLocks/>
          </p:cNvSpPr>
          <p:nvPr/>
        </p:nvSpPr>
        <p:spPr bwMode="auto">
          <a:xfrm>
            <a:off x="8847569" y="6626377"/>
            <a:ext cx="158744" cy="157115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3971427-6CB7-4C73-B94C-E4C31800CD90}" type="slidenum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 panose="020B0600070205080204" pitchFamily="34" charset="-128"/>
                <a:cs typeface="Angsana New" panose="02020603050405020304" pitchFamily="18" charset="-34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0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MS PGothic" panose="020B0600070205080204" pitchFamily="34" charset="-128"/>
              <a:cs typeface="Angsana New" panose="02020603050405020304" pitchFamily="18" charset="-34"/>
            </a:endParaRPr>
          </a:p>
        </p:txBody>
      </p:sp>
      <p:grpSp>
        <p:nvGrpSpPr>
          <p:cNvPr id="33" name="McK Moon" hidden="1"/>
          <p:cNvGrpSpPr>
            <a:grpSpLocks noChangeAspect="1"/>
          </p:cNvGrpSpPr>
          <p:nvPr>
            <p:custDataLst>
              <p:tags r:id="rId2"/>
            </p:custDataLst>
          </p:nvPr>
        </p:nvGrpSpPr>
        <p:grpSpPr bwMode="auto">
          <a:xfrm>
            <a:off x="8159137" y="1958272"/>
            <a:ext cx="259174" cy="259159"/>
            <a:chOff x="1600" y="1600"/>
            <a:chExt cx="160" cy="160"/>
          </a:xfrm>
        </p:grpSpPr>
        <p:sp>
          <p:nvSpPr>
            <p:cNvPr id="34" name="Oval 90"/>
            <p:cNvSpPr>
              <a:spLocks noChangeAspect="1"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sp>
          <p:nvSpPr>
            <p:cNvPr id="35" name="Arc 91"/>
            <p:cNvSpPr>
              <a:spLocks noChangeAspect="1"/>
            </p:cNvSpPr>
            <p:nvPr>
              <p:custDataLst>
                <p:tags r:id="rId19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159137" y="296414"/>
            <a:ext cx="848796" cy="1333050"/>
            <a:chOff x="5428012" y="273840"/>
            <a:chExt cx="830430" cy="1306516"/>
          </a:xfrm>
        </p:grpSpPr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748140" y="286540"/>
              <a:ext cx="510302" cy="1841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1pPr>
              <a:lvl2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2pPr>
              <a:lvl3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3pPr>
              <a:lvl4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4pPr>
              <a:lvl5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5pPr>
              <a:lvl6pPr marL="22780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6pPr>
              <a:lvl7pPr marL="27352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7pPr>
              <a:lvl8pPr marL="31924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8pPr>
              <a:lvl9pPr marL="36496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9pPr>
            </a:lstStyle>
            <a:p>
              <a:pPr marL="0" marR="0" lvl="0" indent="0" algn="l" defTabSz="8905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ngsana New" panose="02020603050405020304" pitchFamily="18" charset="-34"/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748140" y="561178"/>
              <a:ext cx="510302" cy="1841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1pPr>
              <a:lvl2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2pPr>
              <a:lvl3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3pPr>
              <a:lvl4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4pPr>
              <a:lvl5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5pPr>
              <a:lvl6pPr marL="22780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6pPr>
              <a:lvl7pPr marL="27352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7pPr>
              <a:lvl8pPr marL="31924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8pPr>
              <a:lvl9pPr marL="36496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9pPr>
            </a:lstStyle>
            <a:p>
              <a:pPr marL="0" marR="0" lvl="0" indent="0" algn="l" defTabSz="8905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ngsana New" panose="02020603050405020304" pitchFamily="18" charset="-34"/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748140" y="835817"/>
              <a:ext cx="510302" cy="1841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1pPr>
              <a:lvl2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2pPr>
              <a:lvl3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3pPr>
              <a:lvl4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4pPr>
              <a:lvl5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5pPr>
              <a:lvl6pPr marL="22780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6pPr>
              <a:lvl7pPr marL="27352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7pPr>
              <a:lvl8pPr marL="31924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8pPr>
              <a:lvl9pPr marL="36496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9pPr>
            </a:lstStyle>
            <a:p>
              <a:pPr marL="0" marR="0" lvl="0" indent="0" algn="l" defTabSz="8905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ngsana New" panose="02020603050405020304" pitchFamily="18" charset="-34"/>
                </a:rPr>
                <a:t>Legend</a:t>
              </a:r>
            </a:p>
          </p:txBody>
        </p:sp>
        <p:sp>
          <p:nvSpPr>
            <p:cNvPr id="40" name="Legend4"/>
            <p:cNvSpPr>
              <a:spLocks noChangeArrowheads="1"/>
            </p:cNvSpPr>
            <p:nvPr/>
          </p:nvSpPr>
          <p:spPr bwMode="auto">
            <a:xfrm>
              <a:off x="5748140" y="1107280"/>
              <a:ext cx="510302" cy="1841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1pPr>
              <a:lvl2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2pPr>
              <a:lvl3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3pPr>
              <a:lvl4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4pPr>
              <a:lvl5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5pPr>
              <a:lvl6pPr marL="22780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6pPr>
              <a:lvl7pPr marL="27352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7pPr>
              <a:lvl8pPr marL="31924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8pPr>
              <a:lvl9pPr marL="36496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9pPr>
            </a:lstStyle>
            <a:p>
              <a:pPr marL="0" marR="0" lvl="0" indent="0" algn="l" defTabSz="8905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ngsana New" panose="02020603050405020304" pitchFamily="18" charset="-34"/>
                </a:rPr>
                <a:t>Legend</a:t>
              </a:r>
            </a:p>
          </p:txBody>
        </p:sp>
        <p:sp>
          <p:nvSpPr>
            <p:cNvPr id="41" name="Legend5"/>
            <p:cNvSpPr>
              <a:spLocks noChangeArrowheads="1"/>
            </p:cNvSpPr>
            <p:nvPr/>
          </p:nvSpPr>
          <p:spPr bwMode="auto">
            <a:xfrm>
              <a:off x="5748140" y="1383505"/>
              <a:ext cx="510302" cy="1841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1pPr>
              <a:lvl2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2pPr>
              <a:lvl3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3pPr>
              <a:lvl4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4pPr>
              <a:lvl5pPr defTabSz="8905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5pPr>
              <a:lvl6pPr marL="22780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6pPr>
              <a:lvl7pPr marL="27352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7pPr>
              <a:lvl8pPr marL="31924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8pPr>
              <a:lvl9pPr marL="3649663" indent="4763" defTabSz="8905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9pPr>
            </a:lstStyle>
            <a:p>
              <a:pPr marL="0" marR="0" lvl="0" indent="0" algn="l" defTabSz="8905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ＭＳ Ｐゴシック"/>
                  <a:cs typeface="Angsana New" panose="02020603050405020304" pitchFamily="18" charset="-34"/>
                </a:rPr>
                <a:t>Legend</a:t>
              </a:r>
            </a:p>
          </p:txBody>
        </p:sp>
        <p:grpSp>
          <p:nvGrpSpPr>
            <p:cNvPr id="42" name="MoonLegend1"/>
            <p:cNvGrpSpPr>
              <a:grpSpLocks noChangeAspect="1"/>
            </p:cNvGrpSpPr>
            <p:nvPr userDrawn="1">
              <p:custDataLst>
                <p:tags r:id="rId3"/>
              </p:custDataLst>
            </p:nvPr>
          </p:nvGrpSpPr>
          <p:grpSpPr bwMode="auto">
            <a:xfrm>
              <a:off x="5428012" y="273840"/>
              <a:ext cx="209550" cy="209551"/>
              <a:chOff x="1694" y="2044"/>
              <a:chExt cx="160" cy="160"/>
            </a:xfrm>
          </p:grpSpPr>
          <p:sp>
            <p:nvSpPr>
              <p:cNvPr id="55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56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43" name="MoonLegend2"/>
            <p:cNvGrpSpPr>
              <a:grpSpLocks noChangeAspect="1"/>
            </p:cNvGrpSpPr>
            <p:nvPr userDrawn="1">
              <p:custDataLst>
                <p:tags r:id="rId4"/>
              </p:custDataLst>
            </p:nvPr>
          </p:nvGrpSpPr>
          <p:grpSpPr bwMode="auto">
            <a:xfrm>
              <a:off x="5428012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44" name="MoonLegend3"/>
            <p:cNvGrpSpPr>
              <a:grpSpLocks noChangeAspect="1"/>
            </p:cNvGrpSpPr>
            <p:nvPr userDrawn="1">
              <p:custDataLst>
                <p:tags r:id="rId5"/>
              </p:custDataLst>
            </p:nvPr>
          </p:nvGrpSpPr>
          <p:grpSpPr bwMode="auto">
            <a:xfrm>
              <a:off x="5428012" y="821012"/>
              <a:ext cx="209550" cy="209551"/>
              <a:chOff x="1694" y="2043"/>
              <a:chExt cx="160" cy="160"/>
            </a:xfrm>
          </p:grpSpPr>
          <p:sp>
            <p:nvSpPr>
              <p:cNvPr id="51" name="Oval 4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1694" y="2043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52" name="Arc 42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1694" y="2043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 userDrawn="1">
              <p:custDataLst>
                <p:tags r:id="rId6"/>
              </p:custDataLst>
            </p:nvPr>
          </p:nvGrpSpPr>
          <p:grpSpPr bwMode="auto">
            <a:xfrm>
              <a:off x="5428012" y="1096563"/>
              <a:ext cx="209550" cy="209551"/>
              <a:chOff x="1694" y="2044"/>
              <a:chExt cx="160" cy="160"/>
            </a:xfrm>
          </p:grpSpPr>
          <p:sp>
            <p:nvSpPr>
              <p:cNvPr id="49" name="Oval 41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50" name="Arc 42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 userDrawn="1">
              <p:custDataLst>
                <p:tags r:id="rId7"/>
              </p:custDataLst>
            </p:nvPr>
          </p:nvGrpSpPr>
          <p:grpSpPr bwMode="auto">
            <a:xfrm>
              <a:off x="5428012" y="1370805"/>
              <a:ext cx="209550" cy="209551"/>
              <a:chOff x="1694" y="2044"/>
              <a:chExt cx="160" cy="160"/>
            </a:xfrm>
          </p:grpSpPr>
          <p:sp>
            <p:nvSpPr>
              <p:cNvPr id="47" name="Oval 41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  <p:sp>
            <p:nvSpPr>
              <p:cNvPr id="48" name="Arc 42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ＭＳ Ｐゴシック"/>
                  <a:cs typeface="+mn-cs"/>
                </a:endParaRPr>
              </a:p>
            </p:txBody>
          </p:sp>
        </p:grpSp>
      </p:grpSp>
      <p:grpSp>
        <p:nvGrpSpPr>
          <p:cNvPr id="57" name="Group 87"/>
          <p:cNvGrpSpPr>
            <a:grpSpLocks/>
          </p:cNvGrpSpPr>
          <p:nvPr/>
        </p:nvGrpSpPr>
        <p:grpSpPr bwMode="auto">
          <a:xfrm>
            <a:off x="1" y="0"/>
            <a:ext cx="76133" cy="6861239"/>
            <a:chOff x="0" y="-1"/>
            <a:chExt cx="103188" cy="6724862"/>
          </a:xfrm>
        </p:grpSpPr>
        <p:sp>
          <p:nvSpPr>
            <p:cNvPr id="58" name="Rectangle 137"/>
            <p:cNvSpPr>
              <a:spLocks noChangeArrowheads="1"/>
            </p:cNvSpPr>
            <p:nvPr/>
          </p:nvSpPr>
          <p:spPr bwMode="ltGray">
            <a:xfrm>
              <a:off x="0" y="-1"/>
              <a:ext cx="103188" cy="4410214"/>
            </a:xfrm>
            <a:prstGeom prst="rect">
              <a:avLst/>
            </a:prstGeom>
            <a:solidFill>
              <a:srgbClr val="FF781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0" tIns="45715" rIns="91430" bIns="45715" anchor="ctr"/>
            <a:lstStyle>
              <a:lvl1pPr defTabSz="9286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1pPr>
              <a:lvl2pPr defTabSz="9286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2pPr>
              <a:lvl3pPr defTabSz="9286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3pPr>
              <a:lvl4pPr defTabSz="9286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4pPr>
              <a:lvl5pPr defTabSz="9286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5pPr>
              <a:lvl6pPr marL="2278063" indent="4763" defTabSz="9286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6pPr>
              <a:lvl7pPr marL="2735263" indent="4763" defTabSz="9286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7pPr>
              <a:lvl8pPr marL="3192463" indent="4763" defTabSz="9286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8pPr>
              <a:lvl9pPr marL="3649663" indent="4763" defTabSz="9286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9pPr>
            </a:lstStyle>
            <a:p>
              <a:pPr marL="0" marR="0" lvl="0" indent="0" algn="ctr" defTabSz="928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  <p:sp>
          <p:nvSpPr>
            <p:cNvPr id="59" name="Rectangle 138"/>
            <p:cNvSpPr>
              <a:spLocks noChangeArrowheads="1"/>
            </p:cNvSpPr>
            <p:nvPr/>
          </p:nvSpPr>
          <p:spPr bwMode="ltGray">
            <a:xfrm>
              <a:off x="0" y="876327"/>
              <a:ext cx="103188" cy="5848534"/>
            </a:xfrm>
            <a:prstGeom prst="rect">
              <a:avLst/>
            </a:prstGeom>
            <a:solidFill>
              <a:srgbClr val="EE3F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1430" tIns="45715" rIns="91430" bIns="45715" anchor="ctr"/>
            <a:lstStyle>
              <a:lvl1pPr defTabSz="9286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1pPr>
              <a:lvl2pPr defTabSz="9286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2pPr>
              <a:lvl3pPr defTabSz="9286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3pPr>
              <a:lvl4pPr defTabSz="9286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4pPr>
              <a:lvl5pPr defTabSz="928688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5pPr>
              <a:lvl6pPr marL="2278063" indent="4763" defTabSz="9286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6pPr>
              <a:lvl7pPr marL="2735263" indent="4763" defTabSz="9286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7pPr>
              <a:lvl8pPr marL="3192463" indent="4763" defTabSz="9286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8pPr>
              <a:lvl9pPr marL="3649663" indent="4763" defTabSz="928688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ngsana New" panose="02020603050405020304" pitchFamily="18" charset="-34"/>
                </a:defRPr>
              </a:lvl9pPr>
            </a:lstStyle>
            <a:p>
              <a:pPr marL="0" marR="0" lvl="0" indent="0" algn="ctr" defTabSz="928688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sz="100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endParaRPr>
            </a:p>
          </p:txBody>
        </p:sp>
      </p:grpSp>
      <p:pic>
        <p:nvPicPr>
          <p:cNvPr id="60" name="Picture 3" descr="C:\Users\Deepu Varkey\Desktop\Work in Progress Deepu\07\TFY003\logo3.png"/>
          <p:cNvPicPr>
            <a:picLocks noChangeAspect="1" noChangeArrowheads="1"/>
          </p:cNvPicPr>
          <p:nvPr/>
        </p:nvPicPr>
        <p:blipFill>
          <a:blip r:embed="rId25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8571" y="6391513"/>
            <a:ext cx="1477295" cy="472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McK 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6572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608420" y="6453472"/>
            <a:ext cx="514268" cy="241301"/>
          </a:xfrm>
          <a:prstGeom prst="rect">
            <a:avLst/>
          </a:prstGeom>
          <a:solidFill>
            <a:srgbClr val="FDEADA"/>
          </a:solidFill>
        </p:spPr>
        <p:txBody>
          <a:bodyPr wrap="square" anchor="ctr"/>
          <a:lstStyle>
            <a:lvl1pPr algn="ctr">
              <a:defRPr sz="1600" b="1"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6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H SarabunPSK"/>
                <a:cs typeface="TH SarabunPSK"/>
                <a:sym typeface="TH SarabunPSK"/>
              </a:rPr>
              <a:pPr marL="0" marR="0" lvl="0" indent="0" algn="ct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  <p:sp>
        <p:nvSpPr>
          <p:cNvPr id="165" name="Straight Connector 11"/>
          <p:cNvSpPr/>
          <p:nvPr/>
        </p:nvSpPr>
        <p:spPr>
          <a:xfrm flipV="1">
            <a:off x="2390885" y="6792367"/>
            <a:ext cx="6722465" cy="17041"/>
          </a:xfrm>
          <a:prstGeom prst="line">
            <a:avLst/>
          </a:prstGeom>
          <a:ln w="57150">
            <a:solidFill>
              <a:srgbClr val="FF7A00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66" name="Straight Connector 12"/>
          <p:cNvSpPr/>
          <p:nvPr/>
        </p:nvSpPr>
        <p:spPr>
          <a:xfrm flipV="1">
            <a:off x="1225994" y="6738055"/>
            <a:ext cx="5047556" cy="9719"/>
          </a:xfrm>
          <a:prstGeom prst="line">
            <a:avLst/>
          </a:prstGeom>
          <a:ln w="38100">
            <a:solidFill>
              <a:srgbClr val="9BBB59"/>
            </a:solidFill>
          </a:ln>
        </p:spPr>
        <p:txBody>
          <a:bodyPr lIns="45719" rIns="45719"/>
          <a:lstStyle/>
          <a:p>
            <a:pPr marL="0" marR="0" lvl="0" indent="0" algn="l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167" name="Picture 13" descr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" y="6524166"/>
            <a:ext cx="1196836" cy="333836"/>
          </a:xfrm>
          <a:prstGeom prst="rect">
            <a:avLst/>
          </a:prstGeom>
          <a:ln w="12700">
            <a:miter lim="400000"/>
          </a:ln>
        </p:spPr>
      </p:pic>
      <p:sp>
        <p:nvSpPr>
          <p:cNvPr id="168" name="Rectangle 5"/>
          <p:cNvSpPr/>
          <p:nvPr/>
        </p:nvSpPr>
        <p:spPr>
          <a:xfrm>
            <a:off x="0" y="0"/>
            <a:ext cx="9144000" cy="1268760"/>
          </a:xfrm>
          <a:prstGeom prst="rect">
            <a:avLst/>
          </a:prstGeom>
          <a:solidFill>
            <a:srgbClr val="FDEADA"/>
          </a:solidFill>
          <a:ln w="12700">
            <a:miter lim="400000"/>
          </a:ln>
        </p:spPr>
        <p:txBody>
          <a:bodyPr lIns="45719" rIns="45719" anchor="ctr"/>
          <a:lstStyle/>
          <a:p>
            <a:pPr marL="0" marR="0" lvl="0" indent="0" algn="ct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H SarabunPSK"/>
              <a:cs typeface="TH SarabunPSK"/>
              <a:sym typeface="TH SarabunPSK"/>
            </a:endParaRPr>
          </a:p>
        </p:txBody>
      </p:sp>
    </p:spTree>
    <p:extLst>
      <p:ext uri="{BB962C8B-B14F-4D97-AF65-F5344CB8AC3E}">
        <p14:creationId xmlns:p14="http://schemas.microsoft.com/office/powerpoint/2010/main" val="1239695321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slideLayout" Target="../slideLayouts/slideLayout80.xml"/><Relationship Id="rId85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slideLayout" Target="../slideLayouts/slideLayout8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slideLayout" Target="../slideLayouts/slideLayout81.xml"/><Relationship Id="rId86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Relationship Id="rId87" Type="http://schemas.openxmlformats.org/officeDocument/2006/relationships/image" Target="../media/image2.png"/><Relationship Id="rId61" Type="http://schemas.openxmlformats.org/officeDocument/2006/relationships/slideLayout" Target="../slideLayouts/slideLayout61.xml"/><Relationship Id="rId82" Type="http://schemas.openxmlformats.org/officeDocument/2006/relationships/slideLayout" Target="../slideLayouts/slideLayout8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ject 1239" descr="Object 1239"/>
          <p:cNvPicPr>
            <a:picLocks noChangeAspect="1"/>
          </p:cNvPicPr>
          <p:nvPr/>
        </p:nvPicPr>
        <p:blipFill>
          <a:blip r:embed="rId86"/>
          <a:stretch>
            <a:fillRect/>
          </a:stretch>
        </p:blipFill>
        <p:spPr>
          <a:xfrm>
            <a:off x="0" y="0"/>
            <a:ext cx="161984" cy="161975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8852350" y="6647946"/>
            <a:ext cx="153964" cy="135547"/>
          </a:xfrm>
          <a:prstGeom prst="rect">
            <a:avLst/>
          </a:prstGeom>
          <a:ln w="12700">
            <a:miter lim="400000"/>
          </a:ln>
        </p:spPr>
        <p:txBody>
          <a:bodyPr wrap="none" lIns="0" tIns="0" rIns="0" bIns="0" anchor="b">
            <a:spAutoFit/>
          </a:bodyPr>
          <a:lstStyle>
            <a:lvl1pPr algn="r">
              <a:defRPr sz="1000"/>
            </a:lvl1pPr>
          </a:lstStyle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sz="10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grpSp>
        <p:nvGrpSpPr>
          <p:cNvPr id="6" name="Group 87"/>
          <p:cNvGrpSpPr/>
          <p:nvPr/>
        </p:nvGrpSpPr>
        <p:grpSpPr>
          <a:xfrm>
            <a:off x="2" y="0"/>
            <a:ext cx="76133" cy="6861240"/>
            <a:chOff x="1" y="0"/>
            <a:chExt cx="76132" cy="6861239"/>
          </a:xfrm>
        </p:grpSpPr>
        <p:sp>
          <p:nvSpPr>
            <p:cNvPr id="4" name="Rectangle 88"/>
            <p:cNvSpPr/>
            <p:nvPr/>
          </p:nvSpPr>
          <p:spPr>
            <a:xfrm>
              <a:off x="1" y="0"/>
              <a:ext cx="76133" cy="4499651"/>
            </a:xfrm>
            <a:prstGeom prst="rect">
              <a:avLst/>
            </a:prstGeom>
            <a:solidFill>
              <a:schemeClr val="accent2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2868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1">
                  <a:solidFill>
                    <a:srgbClr val="FFFFFF"/>
                  </a:solidFill>
                </a:defRPr>
              </a:pPr>
              <a:endParaRPr kumimoji="0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5" name="Rectangle 89"/>
            <p:cNvSpPr/>
            <p:nvPr/>
          </p:nvSpPr>
          <p:spPr>
            <a:xfrm>
              <a:off x="1" y="894099"/>
              <a:ext cx="76133" cy="5967141"/>
            </a:xfrm>
            <a:prstGeom prst="rect">
              <a:avLst/>
            </a:prstGeom>
            <a:solidFill>
              <a:schemeClr val="accent3"/>
            </a:solidFill>
            <a:ln w="12700" cap="flat">
              <a:noFill/>
              <a:miter lim="400000"/>
            </a:ln>
            <a:effectLst/>
          </p:spPr>
          <p:txBody>
            <a:bodyPr wrap="square" lIns="45719" tIns="45719" rIns="45719" bIns="45719" numCol="1" anchor="ctr">
              <a:noAutofit/>
            </a:bodyPr>
            <a:lstStyle/>
            <a:p>
              <a:pPr marL="0" marR="0" lvl="0" indent="0" algn="ctr" defTabSz="928687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000" b="1">
                  <a:solidFill>
                    <a:srgbClr val="FFFFFF"/>
                  </a:solidFill>
                </a:defRPr>
              </a:pPr>
              <a:endParaRPr kumimoji="0" sz="10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</p:grpSp>
      <p:pic>
        <p:nvPicPr>
          <p:cNvPr id="7" name="Picture 3" descr="Picture 3"/>
          <p:cNvPicPr>
            <a:picLocks noChangeAspect="1"/>
          </p:cNvPicPr>
          <p:nvPr/>
        </p:nvPicPr>
        <p:blipFill>
          <a:blip r:embed="rId8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8570" y="6391512"/>
            <a:ext cx="1477296" cy="472967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Title Text"/>
          <p:cNvSpPr txBox="1">
            <a:spLocks noGrp="1"/>
          </p:cNvSpPr>
          <p:nvPr>
            <p:ph type="title"/>
          </p:nvPr>
        </p:nvSpPr>
        <p:spPr>
          <a:xfrm>
            <a:off x="457200" y="274637"/>
            <a:ext cx="8229600" cy="132556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t>Title Text</a:t>
            </a:r>
          </a:p>
        </p:txBody>
      </p:sp>
      <p:sp>
        <p:nvSpPr>
          <p:cNvPr id="9" name="Body Level One…"/>
          <p:cNvSpPr txBox="1">
            <a:spLocks noGrp="1"/>
          </p:cNvSpPr>
          <p:nvPr>
            <p:ph type="body" idx="1"/>
          </p:nvPr>
        </p:nvSpPr>
        <p:spPr>
          <a:xfrm>
            <a:off x="457200" y="1600200"/>
            <a:ext cx="8229600" cy="52578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1733605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2" r:id="rId2"/>
    <p:sldLayoutId id="2147483823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39" r:id="rId18"/>
    <p:sldLayoutId id="2147483840" r:id="rId19"/>
    <p:sldLayoutId id="2147483841" r:id="rId20"/>
    <p:sldLayoutId id="2147483842" r:id="rId21"/>
    <p:sldLayoutId id="2147483843" r:id="rId22"/>
    <p:sldLayoutId id="2147483844" r:id="rId23"/>
    <p:sldLayoutId id="2147483845" r:id="rId24"/>
    <p:sldLayoutId id="2147483846" r:id="rId25"/>
    <p:sldLayoutId id="2147483847" r:id="rId26"/>
    <p:sldLayoutId id="2147483848" r:id="rId27"/>
    <p:sldLayoutId id="2147483849" r:id="rId28"/>
    <p:sldLayoutId id="2147483850" r:id="rId29"/>
    <p:sldLayoutId id="2147483851" r:id="rId30"/>
    <p:sldLayoutId id="2147483852" r:id="rId31"/>
    <p:sldLayoutId id="2147483853" r:id="rId32"/>
    <p:sldLayoutId id="2147483854" r:id="rId33"/>
    <p:sldLayoutId id="2147483855" r:id="rId34"/>
    <p:sldLayoutId id="2147483856" r:id="rId35"/>
    <p:sldLayoutId id="2147483857" r:id="rId36"/>
    <p:sldLayoutId id="2147483858" r:id="rId37"/>
    <p:sldLayoutId id="2147483859" r:id="rId38"/>
    <p:sldLayoutId id="2147483860" r:id="rId39"/>
    <p:sldLayoutId id="2147483861" r:id="rId40"/>
    <p:sldLayoutId id="2147483862" r:id="rId41"/>
    <p:sldLayoutId id="2147483863" r:id="rId42"/>
    <p:sldLayoutId id="2147483864" r:id="rId43"/>
    <p:sldLayoutId id="2147483865" r:id="rId44"/>
    <p:sldLayoutId id="2147483866" r:id="rId45"/>
    <p:sldLayoutId id="2147483867" r:id="rId46"/>
    <p:sldLayoutId id="2147483868" r:id="rId47"/>
    <p:sldLayoutId id="2147483869" r:id="rId48"/>
    <p:sldLayoutId id="2147483870" r:id="rId49"/>
    <p:sldLayoutId id="2147483871" r:id="rId50"/>
    <p:sldLayoutId id="2147483872" r:id="rId51"/>
    <p:sldLayoutId id="2147483873" r:id="rId52"/>
    <p:sldLayoutId id="2147483874" r:id="rId53"/>
    <p:sldLayoutId id="2147483875" r:id="rId54"/>
    <p:sldLayoutId id="2147483876" r:id="rId55"/>
    <p:sldLayoutId id="2147483877" r:id="rId56"/>
    <p:sldLayoutId id="2147483878" r:id="rId57"/>
    <p:sldLayoutId id="2147483879" r:id="rId58"/>
    <p:sldLayoutId id="2147483880" r:id="rId59"/>
    <p:sldLayoutId id="2147483881" r:id="rId60"/>
    <p:sldLayoutId id="2147483882" r:id="rId61"/>
    <p:sldLayoutId id="2147483883" r:id="rId62"/>
    <p:sldLayoutId id="2147483884" r:id="rId63"/>
    <p:sldLayoutId id="2147483885" r:id="rId64"/>
    <p:sldLayoutId id="2147483886" r:id="rId65"/>
    <p:sldLayoutId id="2147483887" r:id="rId66"/>
    <p:sldLayoutId id="2147483888" r:id="rId67"/>
    <p:sldLayoutId id="2147483889" r:id="rId68"/>
    <p:sldLayoutId id="2147483890" r:id="rId69"/>
    <p:sldLayoutId id="2147483891" r:id="rId70"/>
    <p:sldLayoutId id="2147483892" r:id="rId71"/>
    <p:sldLayoutId id="2147483893" r:id="rId72"/>
    <p:sldLayoutId id="2147483894" r:id="rId73"/>
    <p:sldLayoutId id="2147483895" r:id="rId74"/>
    <p:sldLayoutId id="2147483896" r:id="rId75"/>
    <p:sldLayoutId id="2147483897" r:id="rId76"/>
    <p:sldLayoutId id="2147483898" r:id="rId77"/>
    <p:sldLayoutId id="2147483899" r:id="rId78"/>
    <p:sldLayoutId id="2147483900" r:id="rId79"/>
    <p:sldLayoutId id="2147483901" r:id="rId80"/>
    <p:sldLayoutId id="2147483902" r:id="rId81"/>
    <p:sldLayoutId id="2147483903" r:id="rId82"/>
    <p:sldLayoutId id="2147483904" r:id="rId83"/>
    <p:sldLayoutId id="2147483905" r:id="rId84"/>
  </p:sldLayoutIdLst>
  <p:transition spd="med"/>
  <p:hf hdr="0" ftr="0" dt="0"/>
  <p:txStyles>
    <p:titleStyle>
      <a:lvl1pPr marL="0" marR="0" indent="0" algn="l" defTabSz="90704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>
          <a:tab pos="266700" algn="l"/>
        </a:tabLst>
        <a:defRPr sz="1900" b="1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0" marR="0" indent="0" algn="l" defTabSz="90704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>
          <a:tab pos="266700" algn="l"/>
        </a:tabLst>
        <a:defRPr sz="1900" b="1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0" marR="0" indent="0" algn="l" defTabSz="90704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>
          <a:tab pos="266700" algn="l"/>
        </a:tabLst>
        <a:defRPr sz="1900" b="1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0" marR="0" indent="0" algn="l" defTabSz="90704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>
          <a:tab pos="266700" algn="l"/>
        </a:tabLst>
        <a:defRPr sz="1900" b="1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0" marR="0" indent="0" algn="l" defTabSz="90704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>
          <a:tab pos="266700" algn="l"/>
        </a:tabLst>
        <a:defRPr sz="1900" b="1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0" marR="0" indent="465430" algn="l" defTabSz="90704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>
          <a:tab pos="266700" algn="l"/>
        </a:tabLst>
        <a:defRPr sz="1900" b="1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0" marR="0" indent="930888" algn="l" defTabSz="90704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>
          <a:tab pos="266700" algn="l"/>
        </a:tabLst>
        <a:defRPr sz="1900" b="1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0" marR="0" indent="1396332" algn="l" defTabSz="90704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>
          <a:tab pos="266700" algn="l"/>
        </a:tabLst>
        <a:defRPr sz="1900" b="1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0" marR="0" indent="1861776" algn="l" defTabSz="907046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>
          <a:tab pos="266700" algn="l"/>
        </a:tabLst>
        <a:defRPr sz="1900" b="1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46620" marR="0" indent="-346620" algn="l" defTabSz="907046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00000"/>
        <a:buFontTx/>
        <a:buChar char="•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1pPr>
      <a:lvl2pPr marL="192747" marR="0" indent="-191128" algn="l" defTabSz="907046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25000"/>
        <a:buFontTx/>
        <a:buChar char="▪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2pPr>
      <a:lvl3pPr marL="461622" marR="0" indent="-262395" algn="l" defTabSz="907046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20000"/>
        <a:buFontTx/>
        <a:buChar char="–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3pPr>
      <a:lvl4pPr marL="621975" marR="0" indent="-153875" algn="l" defTabSz="907046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120000"/>
        <a:buFontTx/>
        <a:buChar char="▫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4pPr>
      <a:lvl5pPr marL="759651" marR="0" indent="-127959" algn="l" defTabSz="907046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89000"/>
        <a:buFontTx/>
        <a:buChar char="-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5pPr>
      <a:lvl6pPr marL="763328" marR="0" indent="-132520" algn="l" defTabSz="907046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89000"/>
        <a:buFontTx/>
        <a:buChar char="-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763328" marR="0" indent="-132520" algn="l" defTabSz="907046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89000"/>
        <a:buFontTx/>
        <a:buChar char="-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763328" marR="0" indent="-132520" algn="l" defTabSz="907046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89000"/>
        <a:buFontTx/>
        <a:buChar char="-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763328" marR="0" indent="-132520" algn="l" defTabSz="907046" rtl="0" latinLnBrk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SzPct val="89000"/>
        <a:buFontTx/>
        <a:buChar char="-"/>
        <a:tabLst/>
        <a:defRPr sz="16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457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914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371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18288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22860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27432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32004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3657600" algn="r" defTabSz="914400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3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7.jpeg"/><Relationship Id="rId7" Type="http://schemas.microsoft.com/office/2007/relationships/hdphoto" Target="../media/hdphoto5.wdp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49.png"/><Relationship Id="rId5" Type="http://schemas.microsoft.com/office/2007/relationships/hdphoto" Target="../media/hdphoto4.wdp"/><Relationship Id="rId10" Type="http://schemas.openxmlformats.org/officeDocument/2006/relationships/image" Target="../media/image51.png"/><Relationship Id="rId4" Type="http://schemas.openxmlformats.org/officeDocument/2006/relationships/image" Target="../media/image48.png"/><Relationship Id="rId9" Type="http://schemas.microsoft.com/office/2007/relationships/hdphoto" Target="../media/hdphoto6.wdp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tmp"/><Relationship Id="rId1" Type="http://schemas.openxmlformats.org/officeDocument/2006/relationships/slideLayout" Target="../slideLayouts/slideLayout8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3.xml"/><Relationship Id="rId5" Type="http://schemas.openxmlformats.org/officeDocument/2006/relationships/image" Target="../media/image55.tmp"/><Relationship Id="rId4" Type="http://schemas.openxmlformats.org/officeDocument/2006/relationships/image" Target="../media/image5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58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6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8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8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83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83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67.png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image" Target="../media/image18.jpeg"/><Relationship Id="rId9" Type="http://schemas.openxmlformats.org/officeDocument/2006/relationships/image" Target="../media/image23.png"/><Relationship Id="rId14" Type="http://schemas.openxmlformats.org/officeDocument/2006/relationships/image" Target="../media/image28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1.png"/><Relationship Id="rId18" Type="http://schemas.microsoft.com/office/2007/relationships/hdphoto" Target="../media/hdphoto3.wdp"/><Relationship Id="rId3" Type="http://schemas.openxmlformats.org/officeDocument/2006/relationships/image" Target="../media/image32.jpeg"/><Relationship Id="rId7" Type="http://schemas.openxmlformats.org/officeDocument/2006/relationships/image" Target="../media/image36.png"/><Relationship Id="rId12" Type="http://schemas.openxmlformats.org/officeDocument/2006/relationships/image" Target="../media/image40.jpeg"/><Relationship Id="rId17" Type="http://schemas.openxmlformats.org/officeDocument/2006/relationships/image" Target="../media/image44.png"/><Relationship Id="rId2" Type="http://schemas.openxmlformats.org/officeDocument/2006/relationships/image" Target="../media/image31.jpeg"/><Relationship Id="rId16" Type="http://schemas.openxmlformats.org/officeDocument/2006/relationships/image" Target="../media/image4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png"/><Relationship Id="rId11" Type="http://schemas.openxmlformats.org/officeDocument/2006/relationships/image" Target="../media/image39.jpeg"/><Relationship Id="rId5" Type="http://schemas.openxmlformats.org/officeDocument/2006/relationships/image" Target="../media/image34.jpeg"/><Relationship Id="rId15" Type="http://schemas.openxmlformats.org/officeDocument/2006/relationships/image" Target="../media/image42.png"/><Relationship Id="rId10" Type="http://schemas.microsoft.com/office/2007/relationships/hdphoto" Target="../media/hdphoto1.wdp"/><Relationship Id="rId19" Type="http://schemas.openxmlformats.org/officeDocument/2006/relationships/image" Target="../media/image45.jpeg"/><Relationship Id="rId4" Type="http://schemas.openxmlformats.org/officeDocument/2006/relationships/image" Target="../media/image33.jpeg"/><Relationship Id="rId9" Type="http://schemas.openxmlformats.org/officeDocument/2006/relationships/image" Target="../media/image38.png"/><Relationship Id="rId14" Type="http://schemas.microsoft.com/office/2007/relationships/hdphoto" Target="../media/hdphoto2.wdp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9006249" y="6629605"/>
            <a:ext cx="65" cy="153888"/>
          </a:xfrm>
          <a:prstGeom prst="rect">
            <a:avLst/>
          </a:prstGeom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/>
          <a:lstStyle/>
          <a:p>
            <a:endParaRPr dirty="0"/>
          </a:p>
        </p:txBody>
      </p:sp>
      <p:sp>
        <p:nvSpPr>
          <p:cNvPr id="976" name="TextBox 3"/>
          <p:cNvSpPr txBox="1"/>
          <p:nvPr/>
        </p:nvSpPr>
        <p:spPr>
          <a:xfrm>
            <a:off x="5638800" y="3048000"/>
            <a:ext cx="3315970" cy="54393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45719" rIns="45719">
            <a:spAutoFit/>
          </a:bodyPr>
          <a:lstStyle/>
          <a:p>
            <a:pPr algn="ctr">
              <a:lnSpc>
                <a:spcPct val="110000"/>
              </a:lnSpc>
            </a:pPr>
            <a:r>
              <a:rPr lang="th-TH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นายสมภพ พัฒนอริยางกูล </a:t>
            </a:r>
          </a:p>
          <a:p>
            <a:pPr algn="ctr">
              <a:lnSpc>
                <a:spcPct val="110000"/>
              </a:lnSpc>
            </a:pPr>
            <a:r>
              <a:rPr lang="th-TH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ผู้อำนวยการกองยุทธศาสตร์และแผนงาน</a:t>
            </a:r>
          </a:p>
        </p:txBody>
      </p:sp>
      <p:sp>
        <p:nvSpPr>
          <p:cNvPr id="977" name="สี่เหลี่ยมผืนผ้า 4"/>
          <p:cNvSpPr txBox="1"/>
          <p:nvPr/>
        </p:nvSpPr>
        <p:spPr>
          <a:xfrm>
            <a:off x="107503" y="4759116"/>
            <a:ext cx="5256586" cy="52322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45719" rIns="45719">
            <a:spAutoFit/>
          </a:bodyPr>
          <a:lstStyle>
            <a:lvl1pPr algn="ctr">
              <a:defRPr sz="2000" b="1">
                <a:solidFill>
                  <a:srgbClr val="FFFFFF"/>
                </a:solidFill>
                <a:latin typeface="TH SarabunPSK"/>
                <a:ea typeface="TH SarabunPSK"/>
                <a:cs typeface="TH SarabunPSK"/>
                <a:sym typeface="TH SarabunPSK"/>
              </a:defRPr>
            </a:lvl1pPr>
          </a:lstStyle>
          <a:p>
            <a:r>
              <a:rPr lang="th-TH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ารปฐมนิเทศพลังงานจังหวัดใหม่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th-TH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วันที่ 10 กรกฎาคม 2562</a:t>
            </a:r>
          </a:p>
          <a:p>
            <a:endParaRPr sz="14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th-TH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ภาพรวมโครงสร้าง นโยบายด้านพลังงาน</a:t>
            </a:r>
            <a:endParaRPr lang="en-US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7000" y="3727330"/>
            <a:ext cx="1587212" cy="1589512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180084" y="5376041"/>
            <a:ext cx="2181044" cy="21544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8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</a:t>
            </a:r>
            <a:r>
              <a:rPr kumimoji="0" lang="en-US" sz="8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nergy.go.th/2015/</a:t>
            </a:r>
            <a:r>
              <a:rPr kumimoji="0" lang="th-TH" sz="8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ภาพรวมโครงสร้างนโยบายพ/</a:t>
            </a:r>
            <a:endParaRPr kumimoji="0" lang="en-US" sz="8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</p:spTree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ตัวแทนหมายเลขสไลด์ 1"/>
          <p:cNvSpPr>
            <a:spLocks noGrp="1"/>
          </p:cNvSpPr>
          <p:nvPr>
            <p:ph type="sldNum" sz="quarter" idx="12"/>
          </p:nvPr>
        </p:nvSpPr>
        <p:spPr>
          <a:xfrm>
            <a:off x="6948264" y="6448251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Tahoma" pitchFamily="34" charset="0"/>
                <a:ea typeface="Tahoma" panose="020B0604030504040204" pitchFamily="34" charset="0"/>
                <a:cs typeface="Tahoma" pitchFamily="34" charset="0"/>
                <a:sym typeface="Arial"/>
              </a:rPr>
              <a:t>2</a:t>
            </a:r>
          </a:p>
        </p:txBody>
      </p:sp>
      <p:sp>
        <p:nvSpPr>
          <p:cNvPr id="12" name="Right Arrow 11"/>
          <p:cNvSpPr/>
          <p:nvPr/>
        </p:nvSpPr>
        <p:spPr>
          <a:xfrm rot="1503887">
            <a:off x="3389397" y="3288857"/>
            <a:ext cx="887896" cy="509455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" name="Title 369"/>
          <p:cNvSpPr txBox="1">
            <a:spLocks/>
          </p:cNvSpPr>
          <p:nvPr/>
        </p:nvSpPr>
        <p:spPr>
          <a:xfrm>
            <a:off x="120068" y="49893"/>
            <a:ext cx="6588224" cy="511220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 anchor="ctr"/>
          <a:lstStyle>
            <a:lvl1pPr marL="0" marR="0" indent="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2800" b="1" i="0" u="none" strike="noStrike" cap="none" spc="0" baseline="0">
                <a:ln>
                  <a:noFill/>
                </a:ln>
                <a:solidFill>
                  <a:schemeClr val="bg1"/>
                </a:solidFill>
                <a:uFillTx/>
                <a:latin typeface="Tahoma" pitchFamily="34" charset="0"/>
                <a:ea typeface="Tahoma" pitchFamily="34" charset="0"/>
                <a:cs typeface="Tahoma" pitchFamily="34" charset="0"/>
                <a:sym typeface="Arial"/>
              </a:defRPr>
            </a:lvl1pPr>
            <a:lvl2pPr marL="0" marR="0" indent="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46543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930888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1396332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1861776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hangingPunct="1"/>
            <a:r>
              <a:rPr lang="th-TH" sz="2000" dirty="0" smtClean="0">
                <a:solidFill>
                  <a:schemeClr val="tx1"/>
                </a:solidFill>
              </a:rPr>
              <a:t> </a:t>
            </a:r>
            <a:r>
              <a:rPr lang="th-TH" sz="2000" dirty="0">
                <a:solidFill>
                  <a:schemeClr val="tx1"/>
                </a:solidFill>
              </a:rPr>
              <a:t>การแบ่งแยกบทบาทหน้าที่ในการขับเคลื่อนภาคพลังงาน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751095988"/>
              </p:ext>
            </p:extLst>
          </p:nvPr>
        </p:nvGraphicFramePr>
        <p:xfrm>
          <a:off x="-742507" y="571999"/>
          <a:ext cx="5125192" cy="304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2" name="Rectangle 21"/>
          <p:cNvSpPr/>
          <p:nvPr/>
        </p:nvSpPr>
        <p:spPr>
          <a:xfrm>
            <a:off x="3581400" y="632469"/>
            <a:ext cx="53340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th-TH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คณะกรรมการ </a:t>
            </a:r>
            <a:r>
              <a:rPr lang="en-US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de </a:t>
            </a:r>
            <a:r>
              <a:rPr lang="en-US" b="1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of </a:t>
            </a:r>
            <a:r>
              <a:rPr lang="en-US" b="1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nduct</a:t>
            </a:r>
            <a:endParaRPr lang="th-TH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เพื่อ</a:t>
            </a:r>
            <a:r>
              <a:rPr lang="th-TH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เพิ่มประสิทธิภาพในการบริหารจัดการและหน้าที่ความรับผิดชอบในปัจจุบัน ลดความซ้ำซ้อน </a:t>
            </a: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th-TH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ลด</a:t>
            </a:r>
            <a:r>
              <a:rPr lang="th-TH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อุปสรรค ข้อจำกัด ระยะเวลาและขั้นตอนการปฏิบัติงานให้สั้นลง </a:t>
            </a:r>
            <a:endParaRPr lang="th-TH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th-TH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อยู่ระหว่างการดำเนินงานของคณะกรรมการ</a:t>
            </a:r>
            <a:r>
              <a:rPr lang="th-TH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ทบทวนโครงสร้าง บทบาท อำนาจ และ ภารกิจของกระทรวง</a:t>
            </a:r>
            <a:r>
              <a:rPr lang="th-TH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พลังงาน ซึ่งมี </a:t>
            </a:r>
            <a:r>
              <a:rPr lang="th-TH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ปพ</a:t>
            </a:r>
            <a:r>
              <a:rPr lang="th-TH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น. เป็นประธาน</a:t>
            </a:r>
            <a:endParaRPr lang="en-US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3610887" y="2941891"/>
            <a:ext cx="4111483" cy="3834964"/>
            <a:chOff x="3610887" y="2941891"/>
            <a:chExt cx="4111483" cy="3834964"/>
          </a:xfrm>
        </p:grpSpPr>
        <p:sp>
          <p:nvSpPr>
            <p:cNvPr id="2" name="Oval 1"/>
            <p:cNvSpPr/>
            <p:nvPr/>
          </p:nvSpPr>
          <p:spPr>
            <a:xfrm>
              <a:off x="4652550" y="2941891"/>
              <a:ext cx="2055742" cy="2055742"/>
            </a:xfrm>
            <a:prstGeom prst="ellipse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" name="Oval 8"/>
            <p:cNvSpPr/>
            <p:nvPr/>
          </p:nvSpPr>
          <p:spPr>
            <a:xfrm>
              <a:off x="5666628" y="4721113"/>
              <a:ext cx="2055742" cy="2055742"/>
            </a:xfrm>
            <a:prstGeom prst="ellipse">
              <a:avLst/>
            </a:prstGeom>
            <a:solidFill>
              <a:schemeClr val="accent3">
                <a:lumMod val="40000"/>
                <a:lumOff val="60000"/>
              </a:schemeClr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Oval 9"/>
            <p:cNvSpPr/>
            <p:nvPr/>
          </p:nvSpPr>
          <p:spPr>
            <a:xfrm>
              <a:off x="3610887" y="4698261"/>
              <a:ext cx="2055742" cy="2055742"/>
            </a:xfrm>
            <a:prstGeom prst="ellipse">
              <a:avLst/>
            </a:prstGeom>
            <a:solidFill>
              <a:schemeClr val="bg2">
                <a:lumMod val="40000"/>
                <a:lumOff val="60000"/>
              </a:schemeClr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5207055" y="3787222"/>
              <a:ext cx="946732" cy="3693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th-TH" sz="1800" b="1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นโยบาย</a:t>
              </a:r>
              <a:endParaRPr kumimoji="0" lang="en-US" sz="1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4219968" y="5534105"/>
              <a:ext cx="685442" cy="3693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th-TH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ำกับ</a:t>
              </a:r>
              <a:endParaRPr kumimoji="0" lang="en-US" sz="1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6275710" y="5541467"/>
              <a:ext cx="725518" cy="36933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th-TH" sz="1800" b="1" i="0" u="none" strike="noStrike" cap="none" spc="0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ปฏิบัติ</a:t>
              </a:r>
              <a:endParaRPr kumimoji="0" lang="en-US" sz="1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92926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22824"/>
            <a:ext cx="9067800" cy="460112"/>
          </a:xfrm>
          <a:noFill/>
          <a:ln>
            <a:noFill/>
          </a:ln>
        </p:spPr>
        <p:txBody>
          <a:bodyPr>
            <a:normAutofit/>
          </a:bodyPr>
          <a:lstStyle/>
          <a:p>
            <a:r>
              <a:rPr lang="th-TH" sz="2000" dirty="0">
                <a:solidFill>
                  <a:schemeClr val="tx1"/>
                </a:solidFill>
              </a:rPr>
              <a:t>สำนักงานพลังงานจังหวัด สังกัดสำนักงานปลัดกระทรวงพลังงาน 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4" name="Slide Number Placeholder 3"/>
          <p:cNvSpPr txBox="1">
            <a:spLocks/>
          </p:cNvSpPr>
          <p:nvPr/>
        </p:nvSpPr>
        <p:spPr>
          <a:xfrm>
            <a:off x="8572528" y="6808291"/>
            <a:ext cx="5714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C0930A-0BCC-483E-8E4D-458808A3F509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t>  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E9065A1-B572-483A-ACA8-AC0710487E38}"/>
              </a:ext>
            </a:extLst>
          </p:cNvPr>
          <p:cNvGrpSpPr/>
          <p:nvPr/>
        </p:nvGrpSpPr>
        <p:grpSpPr>
          <a:xfrm>
            <a:off x="1242965" y="988831"/>
            <a:ext cx="6918980" cy="5386845"/>
            <a:chOff x="1242965" y="988831"/>
            <a:chExt cx="6918980" cy="5386845"/>
          </a:xfrm>
        </p:grpSpPr>
        <p:grpSp>
          <p:nvGrpSpPr>
            <p:cNvPr id="79" name="Group 78"/>
            <p:cNvGrpSpPr/>
            <p:nvPr/>
          </p:nvGrpSpPr>
          <p:grpSpPr>
            <a:xfrm>
              <a:off x="1242965" y="988831"/>
              <a:ext cx="6658069" cy="5386845"/>
              <a:chOff x="2624935" y="1643924"/>
              <a:chExt cx="3857652" cy="4420912"/>
            </a:xfrm>
          </p:grpSpPr>
          <p:cxnSp>
            <p:nvCxnSpPr>
              <p:cNvPr id="14" name="ตัวเชื่อมต่อตรง 62"/>
              <p:cNvCxnSpPr/>
              <p:nvPr/>
            </p:nvCxnSpPr>
            <p:spPr>
              <a:xfrm>
                <a:off x="3172502" y="3689244"/>
                <a:ext cx="2844000" cy="4766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ตัวเชื่อมต่อตรง 67"/>
              <p:cNvCxnSpPr/>
              <p:nvPr/>
            </p:nvCxnSpPr>
            <p:spPr>
              <a:xfrm rot="10800000">
                <a:off x="3977872" y="3246862"/>
                <a:ext cx="1454119" cy="1588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สี่เหลี่ยมผืนผ้า 24"/>
              <p:cNvSpPr>
                <a:spLocks/>
              </p:cNvSpPr>
              <p:nvPr/>
            </p:nvSpPr>
            <p:spPr>
              <a:xfrm>
                <a:off x="2804681" y="3797672"/>
                <a:ext cx="785818" cy="805013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FF6600"/>
                </a:solidFill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46633" tIns="45701" rIns="46633" bIns="45701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th-TH" sz="1400" dirty="0">
                    <a:solidFill>
                      <a:srgbClr val="000000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กองกลาง</a:t>
                </a:r>
              </a:p>
            </p:txBody>
          </p:sp>
          <p:sp>
            <p:nvSpPr>
              <p:cNvPr id="17" name="สี่เหลี่ยมผืนผ้า 28"/>
              <p:cNvSpPr>
                <a:spLocks/>
              </p:cNvSpPr>
              <p:nvPr/>
            </p:nvSpPr>
            <p:spPr>
              <a:xfrm>
                <a:off x="5654892" y="3807196"/>
                <a:ext cx="777523" cy="805013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FF6600"/>
                </a:solidFill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46633" tIns="45701" rIns="46633" bIns="45701" anchor="ctr"/>
              <a:lstStyle/>
              <a:p>
                <a:pPr algn="ctr" fontAlgn="base">
                  <a:lnSpc>
                    <a:spcPct val="91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th-TH" sz="1400" dirty="0">
                    <a:solidFill>
                      <a:srgbClr val="000000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กองความร่วมมือระหว่างประเทศ</a:t>
                </a:r>
              </a:p>
            </p:txBody>
          </p:sp>
          <p:sp>
            <p:nvSpPr>
              <p:cNvPr id="18" name="สี่เหลี่ยมผืนผ้า 32"/>
              <p:cNvSpPr>
                <a:spLocks/>
              </p:cNvSpPr>
              <p:nvPr/>
            </p:nvSpPr>
            <p:spPr>
              <a:xfrm>
                <a:off x="3661937" y="3797672"/>
                <a:ext cx="777523" cy="805013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FF6600"/>
                </a:solidFill>
                <a:prstDash val="solid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46633" tIns="45701" rIns="46633" bIns="45701" anchor="ctr"/>
              <a:lstStyle/>
              <a:p>
                <a:pPr algn="ctr" fontAlgn="base">
                  <a:lnSpc>
                    <a:spcPct val="91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th-TH" sz="1400" dirty="0">
                    <a:solidFill>
                      <a:srgbClr val="000000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กองยุทธศาสตร์และแผนงาน</a:t>
                </a:r>
              </a:p>
            </p:txBody>
          </p:sp>
          <p:cxnSp>
            <p:nvCxnSpPr>
              <p:cNvPr id="21" name="Straight Connector 130"/>
              <p:cNvCxnSpPr>
                <a:stCxn id="22" idx="2"/>
              </p:cNvCxnSpPr>
              <p:nvPr/>
            </p:nvCxnSpPr>
            <p:spPr>
              <a:xfrm>
                <a:off x="4590631" y="2215428"/>
                <a:ext cx="12615" cy="2532523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สี่เหลี่ยมผืนผ้า 5"/>
              <p:cNvSpPr>
                <a:spLocks/>
              </p:cNvSpPr>
              <p:nvPr/>
            </p:nvSpPr>
            <p:spPr>
              <a:xfrm>
                <a:off x="3590499" y="1643924"/>
                <a:ext cx="2000264" cy="571504"/>
              </a:xfrm>
              <a:prstGeom prst="rect">
                <a:avLst/>
              </a:prstGeom>
              <a:ln/>
            </p:spPr>
            <p:style>
              <a:lnRef idx="1">
                <a:schemeClr val="accent3"/>
              </a:lnRef>
              <a:fillRef idx="2">
                <a:schemeClr val="accent3"/>
              </a:fillRef>
              <a:effectRef idx="1">
                <a:schemeClr val="accent3"/>
              </a:effectRef>
              <a:fontRef idx="minor">
                <a:schemeClr val="dk1"/>
              </a:fontRef>
            </p:style>
            <p:txBody>
              <a:bodyPr lIns="46633" tIns="45701" rIns="46633" bIns="45701" anchor="ctr"/>
              <a:lstStyle/>
              <a:p>
                <a:pPr algn="ctr" fontAlgn="base">
                  <a:lnSpc>
                    <a:spcPct val="91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th-TH" sz="1400" b="1" dirty="0">
                    <a:solidFill>
                      <a:schemeClr val="tx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สำนักงานปลัด</a:t>
                </a:r>
              </a:p>
              <a:p>
                <a:pPr algn="ctr" fontAlgn="base">
                  <a:lnSpc>
                    <a:spcPct val="91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th-TH" sz="1400" b="1" dirty="0">
                    <a:solidFill>
                      <a:schemeClr val="tx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กระทรวงพลังงาน</a:t>
                </a:r>
              </a:p>
            </p:txBody>
          </p:sp>
          <p:sp>
            <p:nvSpPr>
              <p:cNvPr id="24" name="สี่เหลี่ยมผืนผ้า 16"/>
              <p:cNvSpPr>
                <a:spLocks/>
              </p:cNvSpPr>
              <p:nvPr/>
            </p:nvSpPr>
            <p:spPr>
              <a:xfrm>
                <a:off x="2947557" y="2440349"/>
                <a:ext cx="1000132" cy="471485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FF660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46633" tIns="45701" rIns="46633" bIns="45701" anchor="ctr"/>
              <a:lstStyle/>
              <a:p>
                <a:pPr algn="ctr" fontAlgn="base">
                  <a:lnSpc>
                    <a:spcPct val="91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th-TH" sz="1400" dirty="0">
                    <a:solidFill>
                      <a:srgbClr val="000000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กลุ่มพัฒนา</a:t>
                </a:r>
              </a:p>
              <a:p>
                <a:pPr algn="ctr" fontAlgn="base">
                  <a:lnSpc>
                    <a:spcPct val="91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th-TH" sz="1400" dirty="0">
                    <a:solidFill>
                      <a:srgbClr val="000000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ระบบบริหาร</a:t>
                </a:r>
              </a:p>
            </p:txBody>
          </p:sp>
          <p:sp>
            <p:nvSpPr>
              <p:cNvPr id="25" name="สี่เหลี่ยมผืนผ้า 20"/>
              <p:cNvSpPr>
                <a:spLocks/>
              </p:cNvSpPr>
              <p:nvPr/>
            </p:nvSpPr>
            <p:spPr>
              <a:xfrm>
                <a:off x="5183464" y="2956469"/>
                <a:ext cx="928694" cy="471485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FF660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36000" tIns="45701" rIns="36000" bIns="45701" anchor="ctr"/>
              <a:lstStyle/>
              <a:p>
                <a:pPr algn="ctr" fontAlgn="base">
                  <a:lnSpc>
                    <a:spcPct val="91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th-TH" sz="1400" dirty="0">
                    <a:solidFill>
                      <a:srgbClr val="000000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กลุ่มตรวจสอบภายใน</a:t>
                </a:r>
              </a:p>
            </p:txBody>
          </p:sp>
          <p:sp>
            <p:nvSpPr>
              <p:cNvPr id="31" name="สี่เหลี่ยมผืนผ้า 24"/>
              <p:cNvSpPr>
                <a:spLocks/>
              </p:cNvSpPr>
              <p:nvPr/>
            </p:nvSpPr>
            <p:spPr>
              <a:xfrm>
                <a:off x="2624935" y="4859717"/>
                <a:ext cx="785818" cy="805013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FF660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46633" tIns="45701" rIns="46633" bIns="45701" anchor="ctr"/>
              <a:lstStyle/>
              <a:p>
                <a:pPr algn="ctr" fontAlgn="base">
                  <a:lnSpc>
                    <a:spcPct val="91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th-TH" sz="1400" dirty="0">
                    <a:solidFill>
                      <a:srgbClr val="000000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กองตรวจราชการ</a:t>
                </a:r>
              </a:p>
            </p:txBody>
          </p:sp>
          <p:sp>
            <p:nvSpPr>
              <p:cNvPr id="32" name="สี่เหลี่ยมผืนผ้า 28"/>
              <p:cNvSpPr>
                <a:spLocks/>
              </p:cNvSpPr>
              <p:nvPr/>
            </p:nvSpPr>
            <p:spPr>
              <a:xfrm>
                <a:off x="5705064" y="4864327"/>
                <a:ext cx="777523" cy="805013"/>
              </a:xfrm>
              <a:prstGeom prst="rect">
                <a:avLst/>
              </a:prstGeom>
              <a:solidFill>
                <a:schemeClr val="accent3">
                  <a:lumMod val="75000"/>
                </a:schemeClr>
              </a:solidFill>
              <a:ln>
                <a:noFill/>
              </a:ln>
            </p:spPr>
            <p:style>
              <a:lnRef idx="1">
                <a:schemeClr val="accent6"/>
              </a:lnRef>
              <a:fillRef idx="2">
                <a:schemeClr val="accent6"/>
              </a:fillRef>
              <a:effectRef idx="1">
                <a:schemeClr val="accent6"/>
              </a:effectRef>
              <a:fontRef idx="minor">
                <a:schemeClr val="dk1"/>
              </a:fontRef>
            </p:style>
            <p:txBody>
              <a:bodyPr lIns="46633" tIns="45701" rIns="46633" bIns="45701" anchor="ctr"/>
              <a:lstStyle/>
              <a:p>
                <a:pPr algn="ctr" fontAlgn="base">
                  <a:lnSpc>
                    <a:spcPct val="91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th-TH" sz="1400" b="1" dirty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สำนักงานพลังงานจังหวัด</a:t>
                </a:r>
              </a:p>
              <a:p>
                <a:pPr algn="ctr" fontAlgn="base">
                  <a:lnSpc>
                    <a:spcPct val="91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th-TH" sz="1400" b="1" dirty="0">
                    <a:solidFill>
                      <a:schemeClr val="bg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(76 จังหวัด)</a:t>
                </a:r>
              </a:p>
            </p:txBody>
          </p:sp>
          <p:sp>
            <p:nvSpPr>
              <p:cNvPr id="33" name="สี่เหลี่ยมผืนผ้า 36"/>
              <p:cNvSpPr>
                <a:spLocks/>
              </p:cNvSpPr>
              <p:nvPr/>
            </p:nvSpPr>
            <p:spPr>
              <a:xfrm>
                <a:off x="4704932" y="3797671"/>
                <a:ext cx="864000" cy="8050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FF660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0" tIns="45701" rIns="0" bIns="45701" anchor="ctr"/>
              <a:lstStyle/>
              <a:p>
                <a:pPr algn="ctr" fontAlgn="base">
                  <a:lnSpc>
                    <a:spcPct val="91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th-TH" sz="1400" dirty="0">
                    <a:solidFill>
                      <a:srgbClr val="000000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ศูนย์</a:t>
                </a:r>
              </a:p>
              <a:p>
                <a:pPr algn="ctr" fontAlgn="base">
                  <a:lnSpc>
                    <a:spcPct val="91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th-TH" sz="1400" dirty="0">
                    <a:solidFill>
                      <a:srgbClr val="000000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เทคโนโลยีสารสนเทศและการสื่อสาร</a:t>
                </a:r>
              </a:p>
            </p:txBody>
          </p:sp>
          <p:cxnSp>
            <p:nvCxnSpPr>
              <p:cNvPr id="41" name="Straight Connector 142"/>
              <p:cNvCxnSpPr/>
              <p:nvPr/>
            </p:nvCxnSpPr>
            <p:spPr>
              <a:xfrm rot="5400000">
                <a:off x="3125329" y="3749249"/>
                <a:ext cx="114295" cy="1588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Connector 142"/>
              <p:cNvCxnSpPr/>
              <p:nvPr/>
            </p:nvCxnSpPr>
            <p:spPr>
              <a:xfrm rot="5400000">
                <a:off x="3951660" y="3749249"/>
                <a:ext cx="114295" cy="1588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Connector 142"/>
              <p:cNvCxnSpPr/>
              <p:nvPr/>
            </p:nvCxnSpPr>
            <p:spPr>
              <a:xfrm rot="5400000">
                <a:off x="5953485" y="3749244"/>
                <a:ext cx="114295" cy="1588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Connector 142"/>
              <p:cNvCxnSpPr/>
              <p:nvPr/>
            </p:nvCxnSpPr>
            <p:spPr>
              <a:xfrm rot="5400000">
                <a:off x="5090178" y="3749244"/>
                <a:ext cx="114295" cy="1588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" name="Straight Connector 142"/>
              <p:cNvCxnSpPr/>
              <p:nvPr/>
            </p:nvCxnSpPr>
            <p:spPr>
              <a:xfrm rot="5400000">
                <a:off x="3924315" y="4801769"/>
                <a:ext cx="114295" cy="1588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Connector 142"/>
              <p:cNvCxnSpPr/>
              <p:nvPr/>
            </p:nvCxnSpPr>
            <p:spPr>
              <a:xfrm rot="5400000">
                <a:off x="6016656" y="4801764"/>
                <a:ext cx="114295" cy="1588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Connector 142"/>
              <p:cNvCxnSpPr/>
              <p:nvPr/>
            </p:nvCxnSpPr>
            <p:spPr>
              <a:xfrm rot="5400000">
                <a:off x="2935296" y="4801764"/>
                <a:ext cx="114295" cy="1588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0" name="สี่เหลี่ยมผืนผ้า 16"/>
              <p:cNvSpPr>
                <a:spLocks/>
              </p:cNvSpPr>
              <p:nvPr/>
            </p:nvSpPr>
            <p:spPr>
              <a:xfrm>
                <a:off x="2947557" y="2983272"/>
                <a:ext cx="1011110" cy="47115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FF660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46633" tIns="45701" rIns="46633" bIns="45701" anchor="ctr"/>
              <a:lstStyle/>
              <a:p>
                <a:pPr algn="ctr" fontAlgn="base">
                  <a:lnSpc>
                    <a:spcPct val="91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th-TH" sz="1400" dirty="0">
                    <a:solidFill>
                      <a:srgbClr val="000000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ศูนย์ปฏิบัติการต่อต้านการทุจริต</a:t>
                </a:r>
              </a:p>
            </p:txBody>
          </p:sp>
          <p:sp>
            <p:nvSpPr>
              <p:cNvPr id="52" name="McK 4. Footnote"/>
              <p:cNvSpPr txBox="1">
                <a:spLocks noChangeArrowheads="1"/>
              </p:cNvSpPr>
              <p:nvPr/>
            </p:nvSpPr>
            <p:spPr bwMode="auto">
              <a:xfrm>
                <a:off x="3121225" y="5888024"/>
                <a:ext cx="2310766" cy="17681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 lIns="0" tIns="0" rIns="0" bIns="0" anchor="b">
                <a:spAutoFit/>
              </a:bodyPr>
              <a:lstStyle/>
              <a:p>
                <a:pPr marL="106363" indent="-106363" defTabSz="912813"/>
                <a:r>
                  <a:rPr lang="en-US" sz="1400" dirty="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rPr>
                  <a:t>* </a:t>
                </a:r>
                <a:r>
                  <a:rPr lang="th-TH" sz="1400" dirty="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rPr>
                  <a:t>โครงสร้าง</a:t>
                </a:r>
                <a:r>
                  <a:rPr lang="th-TH" sz="1400" dirty="0" smtClean="0">
                    <a:solidFill>
                      <a:schemeClr val="tx1"/>
                    </a:solidFill>
                    <a:latin typeface="Tahoma" pitchFamily="34" charset="0"/>
                    <a:cs typeface="Tahoma" pitchFamily="34" charset="0"/>
                  </a:rPr>
                  <a:t>ภายในสำนักงานปลัดกระทรวงพลังงาน</a:t>
                </a:r>
                <a:endParaRPr lang="en-US" sz="1400" dirty="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endParaRPr>
              </a:p>
            </p:txBody>
          </p:sp>
          <p:cxnSp>
            <p:nvCxnSpPr>
              <p:cNvPr id="54" name="Straight Connector 142"/>
              <p:cNvCxnSpPr/>
              <p:nvPr/>
            </p:nvCxnSpPr>
            <p:spPr>
              <a:xfrm rot="5400000">
                <a:off x="4995885" y="4806380"/>
                <a:ext cx="114295" cy="1588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5" name="สี่เหลี่ยมผืนผ้า 32"/>
              <p:cNvSpPr>
                <a:spLocks/>
              </p:cNvSpPr>
              <p:nvPr/>
            </p:nvSpPr>
            <p:spPr>
              <a:xfrm>
                <a:off x="3482191" y="4859710"/>
                <a:ext cx="1000132" cy="8050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FF6600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46633" tIns="45701" rIns="46633" bIns="45701" anchor="ctr"/>
              <a:lstStyle/>
              <a:p>
                <a:pPr algn="ctr" fontAlgn="base">
                  <a:lnSpc>
                    <a:spcPct val="91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th-TH" sz="1400" dirty="0">
                    <a:solidFill>
                      <a:srgbClr val="000000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กองศึกษาและพัฒนา</a:t>
                </a:r>
                <a:br>
                  <a:rPr lang="th-TH" sz="1400" dirty="0">
                    <a:solidFill>
                      <a:srgbClr val="000000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</a:br>
                <a:r>
                  <a:rPr lang="th-TH" sz="1400" dirty="0">
                    <a:solidFill>
                      <a:srgbClr val="000000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โรงไฟฟ้าฐาน</a:t>
                </a:r>
              </a:p>
            </p:txBody>
          </p:sp>
          <p:cxnSp>
            <p:nvCxnSpPr>
              <p:cNvPr id="56" name="ตัวเชื่อมต่อตรง 67"/>
              <p:cNvCxnSpPr/>
              <p:nvPr/>
            </p:nvCxnSpPr>
            <p:spPr>
              <a:xfrm rot="10800000">
                <a:off x="3960304" y="2631496"/>
                <a:ext cx="642942" cy="1588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ตัวเชื่อมต่อตรง 62"/>
              <p:cNvCxnSpPr/>
              <p:nvPr/>
            </p:nvCxnSpPr>
            <p:spPr>
              <a:xfrm flipV="1">
                <a:off x="2982124" y="4750171"/>
                <a:ext cx="3096000" cy="1616"/>
              </a:xfrm>
              <a:prstGeom prst="line">
                <a:avLst/>
              </a:prstGeom>
              <a:ln w="19050">
                <a:solidFill>
                  <a:schemeClr val="bg1">
                    <a:lumMod val="5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78" name="สี่เหลี่ยมผืนผ้า 36"/>
              <p:cNvSpPr>
                <a:spLocks/>
              </p:cNvSpPr>
              <p:nvPr/>
            </p:nvSpPr>
            <p:spPr>
              <a:xfrm>
                <a:off x="4597775" y="4877402"/>
                <a:ext cx="1000132" cy="805014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rgbClr val="FF6600"/>
                </a:solidFill>
                <a:prstDash val="dash"/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lIns="46633" tIns="45701" rIns="46633" bIns="45701" anchor="ctr"/>
              <a:lstStyle/>
              <a:p>
                <a:pPr algn="ctr" fontAlgn="base">
                  <a:lnSpc>
                    <a:spcPct val="91000"/>
                  </a:lnSpc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th-TH" sz="1400" dirty="0">
                    <a:solidFill>
                      <a:srgbClr val="000000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สำนักส่งเสริมการมีส่วนร่วมของประชาชน </a:t>
                </a:r>
                <a:r>
                  <a:rPr lang="th-TH" sz="1400" b="1" dirty="0">
                    <a:solidFill>
                      <a:schemeClr val="tx1"/>
                    </a:solidFill>
                    <a:latin typeface="Tahoma" pitchFamily="34" charset="0"/>
                    <a:ea typeface="Tahoma" pitchFamily="34" charset="0"/>
                    <a:cs typeface="Tahoma" pitchFamily="34" charset="0"/>
                  </a:rPr>
                  <a:t>*</a:t>
                </a:r>
              </a:p>
            </p:txBody>
          </p:sp>
        </p:grpSp>
        <p:sp>
          <p:nvSpPr>
            <p:cNvPr id="34" name="สี่เหลี่ยมผืนผ้า 20"/>
            <p:cNvSpPr>
              <a:spLocks/>
            </p:cNvSpPr>
            <p:nvPr/>
          </p:nvSpPr>
          <p:spPr>
            <a:xfrm>
              <a:off x="6559077" y="1856952"/>
              <a:ext cx="1602868" cy="574501"/>
            </a:xfrm>
            <a:prstGeom prst="rect">
              <a:avLst/>
            </a:prstGeom>
            <a:ln>
              <a:prstDash val="sysDash"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lIns="36000" tIns="45701" rIns="36000" bIns="45701" anchor="ctr"/>
            <a:lstStyle/>
            <a:p>
              <a:pPr algn="ctr" fontAlgn="base">
                <a:lnSpc>
                  <a:spcPct val="91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th-TH" sz="1200" dirty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สำนักงานกองทุนเพื่อส่งเสริมการอนุรักษ์</a:t>
              </a:r>
              <a:r>
                <a:rPr lang="th-TH" sz="1200" dirty="0" smtClean="0">
                  <a:solidFill>
                    <a:srgbClr val="000000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พลังงาน*</a:t>
              </a:r>
              <a:endParaRPr lang="th-TH" sz="1200" dirty="0">
                <a:solidFill>
                  <a:srgbClr val="000000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cxnSp>
        <p:nvCxnSpPr>
          <p:cNvPr id="4" name="Elbow Connector 3"/>
          <p:cNvCxnSpPr>
            <a:endCxn id="34" idx="1"/>
          </p:cNvCxnSpPr>
          <p:nvPr/>
        </p:nvCxnSpPr>
        <p:spPr>
          <a:xfrm rot="16200000" flipH="1">
            <a:off x="6159308" y="1744433"/>
            <a:ext cx="447597" cy="351942"/>
          </a:xfrm>
          <a:prstGeom prst="bentConnector2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171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2743200"/>
            <a:ext cx="9067800" cy="1219200"/>
          </a:xfrm>
          <a:solidFill>
            <a:schemeClr val="accent5"/>
          </a:solidFill>
        </p:spPr>
        <p:txBody>
          <a:bodyPr/>
          <a:lstStyle/>
          <a:p>
            <a:pPr lvl="0" algn="ctr"/>
            <a:r>
              <a:rPr lang="th-TH" dirty="0"/>
              <a:t/>
            </a:r>
            <a:br>
              <a:rPr lang="th-TH" dirty="0"/>
            </a:br>
            <a:r>
              <a:rPr lang="th-TH" dirty="0" smtClean="0"/>
              <a:t>ประเด็นนโยบายสำคัญ</a:t>
            </a:r>
            <a:r>
              <a:rPr lang="th-TH" dirty="0"/>
              <a:t>ด้านพลังงาน</a:t>
            </a:r>
            <a:br>
              <a:rPr lang="th-TH" dirty="0"/>
            </a:br>
            <a:r>
              <a:rPr lang="en-US" dirty="0"/>
              <a:t/>
            </a:r>
            <a:br>
              <a:rPr lang="en-US" dirty="0"/>
            </a:br>
            <a:r>
              <a:rPr lang="th-TH" dirty="0"/>
              <a:t/>
            </a:r>
            <a:br>
              <a:rPr lang="th-TH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CC8D51-5B81-4427-8368-374905FFCA51}" type="slidenum">
              <a:rPr kumimoji="0" lang="en-US" altLang="th-TH" sz="10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altLang="th-TH" sz="10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5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8" descr="ผลการค้นหารูปภาพสำหรับ SDG vector">
            <a:extLst>
              <a:ext uri="{FF2B5EF4-FFF2-40B4-BE49-F238E27FC236}">
                <a16:creationId xmlns:a16="http://schemas.microsoft.com/office/drawing/2014/main" id="{CD85ADE1-4AD9-4D36-9AF8-E059DAB793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3965" y="-1293"/>
            <a:ext cx="1250035" cy="1207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9" name="Rectangle 16">
            <a:extLst>
              <a:ext uri="{FF2B5EF4-FFF2-40B4-BE49-F238E27FC236}">
                <a16:creationId xmlns:a16="http://schemas.microsoft.com/office/drawing/2014/main" id="{8E6E70F3-A0F9-467D-B85B-C3ADBED7D299}"/>
              </a:ext>
            </a:extLst>
          </p:cNvPr>
          <p:cNvSpPr/>
          <p:nvPr/>
        </p:nvSpPr>
        <p:spPr>
          <a:xfrm>
            <a:off x="118003" y="154092"/>
            <a:ext cx="7883699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th-TH" b="1" dirty="0" smtClean="0">
                <a:ln w="0"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เป้าหมาย</a:t>
            </a:r>
            <a:r>
              <a:rPr lang="th-TH" sz="1800" b="1" dirty="0" smtClean="0">
                <a:ln w="0"/>
                <a:ea typeface="Tahoma" panose="020B0604030504040204" pitchFamily="34" charset="0"/>
                <a:cs typeface="Tahoma" panose="020B0604030504040204" pitchFamily="34" charset="0"/>
              </a:rPr>
              <a:t>การ</a:t>
            </a:r>
            <a:r>
              <a:rPr lang="th-TH" sz="1800" b="1" dirty="0">
                <a:ln w="0"/>
                <a:ea typeface="Tahoma" panose="020B0604030504040204" pitchFamily="34" charset="0"/>
                <a:cs typeface="Tahoma" panose="020B0604030504040204" pitchFamily="34" charset="0"/>
              </a:rPr>
              <a:t>พัฒนาที่ยั่งยืนด้านพลังงาน </a:t>
            </a:r>
            <a:r>
              <a:rPr lang="th-TH" sz="1800" b="1" dirty="0" smtClean="0">
                <a:ln w="0"/>
                <a:ea typeface="Tahoma" panose="020B0604030504040204" pitchFamily="34" charset="0"/>
                <a:cs typeface="Tahoma" panose="020B0604030504040204" pitchFamily="34" charset="0"/>
              </a:rPr>
              <a:t>ปี </a:t>
            </a:r>
            <a:r>
              <a:rPr lang="th-TH" sz="1800" b="1" dirty="0">
                <a:ln w="0"/>
                <a:ea typeface="Tahoma" panose="020B0604030504040204" pitchFamily="34" charset="0"/>
                <a:cs typeface="Tahoma" panose="020B0604030504040204" pitchFamily="34" charset="0"/>
              </a:rPr>
              <a:t>2579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408508" y="1258812"/>
            <a:ext cx="8367795" cy="5243675"/>
            <a:chOff x="408508" y="1397804"/>
            <a:chExt cx="8367795" cy="5243675"/>
          </a:xfrm>
        </p:grpSpPr>
        <p:sp>
          <p:nvSpPr>
            <p:cNvPr id="35" name="สี่เหลี่ยมผืนผ้า 34"/>
            <p:cNvSpPr/>
            <p:nvPr/>
          </p:nvSpPr>
          <p:spPr bwMode="auto">
            <a:xfrm>
              <a:off x="4506911" y="3997138"/>
              <a:ext cx="4235555" cy="2618854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240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4" name="สี่เหลี่ยมผืนผ้า 33"/>
            <p:cNvSpPr/>
            <p:nvPr/>
          </p:nvSpPr>
          <p:spPr bwMode="auto">
            <a:xfrm>
              <a:off x="408508" y="3992082"/>
              <a:ext cx="3836062" cy="2649397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240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8" name="สี่เหลี่ยมผืนผ้า 7"/>
            <p:cNvSpPr/>
            <p:nvPr/>
          </p:nvSpPr>
          <p:spPr bwMode="auto">
            <a:xfrm>
              <a:off x="864752" y="1461351"/>
              <a:ext cx="7511505" cy="232769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2400" b="1" dirty="0" smtClean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5" name="กลุ่ม 4"/>
            <p:cNvGrpSpPr/>
            <p:nvPr/>
          </p:nvGrpSpPr>
          <p:grpSpPr>
            <a:xfrm>
              <a:off x="1330609" y="2075179"/>
              <a:ext cx="3583766" cy="1384995"/>
              <a:chOff x="743928" y="2470897"/>
              <a:chExt cx="3583766" cy="1384995"/>
            </a:xfrm>
          </p:grpSpPr>
          <p:grpSp>
            <p:nvGrpSpPr>
              <p:cNvPr id="58" name="Group 22">
                <a:extLst>
                  <a:ext uri="{FF2B5EF4-FFF2-40B4-BE49-F238E27FC236}">
                    <a16:creationId xmlns:a16="http://schemas.microsoft.com/office/drawing/2014/main" id="{B8A978B0-E642-4413-BC64-75E10870465C}"/>
                  </a:ext>
                </a:extLst>
              </p:cNvPr>
              <p:cNvGrpSpPr/>
              <p:nvPr/>
            </p:nvGrpSpPr>
            <p:grpSpPr>
              <a:xfrm>
                <a:off x="1301868" y="2470897"/>
                <a:ext cx="2503842" cy="584775"/>
                <a:chOff x="3240799" y="2679620"/>
                <a:chExt cx="2503842" cy="398853"/>
              </a:xfrm>
            </p:grpSpPr>
            <p:sp>
              <p:nvSpPr>
                <p:cNvPr id="60" name="Rectangle 7">
                  <a:extLst>
                    <a:ext uri="{FF2B5EF4-FFF2-40B4-BE49-F238E27FC236}">
                      <a16:creationId xmlns:a16="http://schemas.microsoft.com/office/drawing/2014/main" id="{9F72D566-8E04-43AE-9C96-1FC80D62F1FF}"/>
                    </a:ext>
                  </a:extLst>
                </p:cNvPr>
                <p:cNvSpPr/>
                <p:nvPr/>
              </p:nvSpPr>
              <p:spPr>
                <a:xfrm>
                  <a:off x="4556495" y="2714576"/>
                  <a:ext cx="1188146" cy="356869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pPr lvl="0"/>
                  <a:r>
                    <a:rPr lang="th-TH" sz="1200" b="1" spc="60" dirty="0">
                      <a:solidFill>
                        <a:schemeClr val="tx1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ของประชากร</a:t>
                  </a:r>
                  <a:r>
                    <a:rPr lang="en-US" sz="1200" b="1" dirty="0">
                      <a:solidFill>
                        <a:schemeClr val="tx1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/>
                  </a:r>
                  <a:br>
                    <a:rPr lang="en-US" sz="1200" b="1" dirty="0">
                      <a:solidFill>
                        <a:schemeClr val="tx1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</a:br>
                  <a:r>
                    <a:rPr lang="th-TH" sz="1200" b="1" spc="-20" dirty="0">
                      <a:solidFill>
                        <a:schemeClr val="tx1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เข้าถึง</a:t>
                  </a:r>
                  <a:r>
                    <a:rPr lang="en-US" sz="1200" b="1" spc="-20" dirty="0">
                      <a:solidFill>
                        <a:schemeClr val="tx1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 </a:t>
                  </a:r>
                  <a:r>
                    <a:rPr lang="th-TH" sz="1600" b="1" spc="-20" dirty="0">
                      <a:solidFill>
                        <a:schemeClr val="tx1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ไฟฟ้า</a:t>
                  </a:r>
                  <a:endParaRPr lang="en-US" sz="3200" b="1" spc="-20" dirty="0">
                    <a:solidFill>
                      <a:schemeClr val="tx1"/>
                    </a:solidFill>
                    <a:ea typeface="Tahoma" pitchFamily="34" charset="0"/>
                    <a:cs typeface="Tahoma" pitchFamily="34" charset="0"/>
                  </a:endParaRPr>
                </a:p>
              </p:txBody>
            </p:sp>
            <p:sp>
              <p:nvSpPr>
                <p:cNvPr id="62" name="Rectangle 20">
                  <a:extLst>
                    <a:ext uri="{FF2B5EF4-FFF2-40B4-BE49-F238E27FC236}">
                      <a16:creationId xmlns:a16="http://schemas.microsoft.com/office/drawing/2014/main" id="{A2227754-F8BD-4697-9AC4-434BEA025EFF}"/>
                    </a:ext>
                  </a:extLst>
                </p:cNvPr>
                <p:cNvSpPr/>
                <p:nvPr/>
              </p:nvSpPr>
              <p:spPr>
                <a:xfrm>
                  <a:off x="3240799" y="2679620"/>
                  <a:ext cx="1433406" cy="398853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3200" b="1" dirty="0">
                      <a:solidFill>
                        <a:srgbClr val="FF0000"/>
                      </a:solidFill>
                      <a:ea typeface="Tahoma" pitchFamily="34" charset="0"/>
                      <a:cs typeface="Tahoma" pitchFamily="34" charset="0"/>
                    </a:rPr>
                    <a:t>99.99</a:t>
                  </a:r>
                  <a:r>
                    <a:rPr lang="en-US" sz="1500" b="1" dirty="0">
                      <a:solidFill>
                        <a:srgbClr val="FF0000"/>
                      </a:solidFill>
                      <a:ea typeface="Tahoma" pitchFamily="34" charset="0"/>
                      <a:cs typeface="Tahoma" pitchFamily="34" charset="0"/>
                    </a:rPr>
                    <a:t>% </a:t>
                  </a:r>
                  <a:endParaRPr lang="en-US" sz="1500" dirty="0"/>
                </a:p>
              </p:txBody>
            </p:sp>
          </p:grpSp>
          <p:sp>
            <p:nvSpPr>
              <p:cNvPr id="59" name="Rectangle 2">
                <a:extLst>
                  <a:ext uri="{FF2B5EF4-FFF2-40B4-BE49-F238E27FC236}">
                    <a16:creationId xmlns:a16="http://schemas.microsoft.com/office/drawing/2014/main" id="{CD63DF91-94B6-4380-929C-E3A7ED97CCCA}"/>
                  </a:ext>
                </a:extLst>
              </p:cNvPr>
              <p:cNvSpPr/>
              <p:nvPr/>
            </p:nvSpPr>
            <p:spPr>
              <a:xfrm>
                <a:off x="849485" y="3117228"/>
                <a:ext cx="3478209" cy="7386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th-TH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ปี 2559 </a:t>
                </a:r>
                <a:r>
                  <a:rPr lang="th-TH" sz="14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คิดเป็น </a:t>
                </a:r>
                <a:r>
                  <a:rPr lang="th-TH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99.</a:t>
                </a:r>
                <a:r>
                  <a:rPr lang="en-US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70%</a:t>
                </a:r>
                <a:endParaRPr lang="th-TH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th-TH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ปี </a:t>
                </a:r>
                <a:r>
                  <a:rPr lang="th-TH" sz="14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2560 คิดเป็น 99.77</a:t>
                </a:r>
                <a:r>
                  <a:rPr lang="en-US" sz="14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% </a:t>
                </a:r>
                <a:endParaRPr lang="en-US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th-TH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ปี 2561 คิดเป็น 99.79</a:t>
                </a:r>
                <a:r>
                  <a:rPr lang="en-US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%</a:t>
                </a:r>
                <a:r>
                  <a:rPr lang="th-TH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(</a:t>
                </a:r>
                <a:r>
                  <a:rPr lang="th-TH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ณ พ.ย.</a:t>
                </a:r>
                <a:r>
                  <a:rPr lang="en-US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)</a:t>
                </a:r>
                <a:endParaRPr lang="th-TH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pic>
            <p:nvPicPr>
              <p:cNvPr id="57" name="Picture 30">
                <a:extLst>
                  <a:ext uri="{FF2B5EF4-FFF2-40B4-BE49-F238E27FC236}">
                    <a16:creationId xmlns:a16="http://schemas.microsoft.com/office/drawing/2014/main" id="{ACB297A2-6B68-459D-A6D6-4220F04C82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grayscl/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rightnessContrast bright="40000" contras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3928" y="2566859"/>
                <a:ext cx="576064" cy="475926"/>
              </a:xfrm>
              <a:prstGeom prst="rect">
                <a:avLst/>
              </a:prstGeom>
            </p:spPr>
          </p:pic>
        </p:grpSp>
        <p:sp>
          <p:nvSpPr>
            <p:cNvPr id="54" name="Rectangle 31">
              <a:extLst>
                <a:ext uri="{FF2B5EF4-FFF2-40B4-BE49-F238E27FC236}">
                  <a16:creationId xmlns:a16="http://schemas.microsoft.com/office/drawing/2014/main" id="{241A6B75-AB9F-483E-8B50-320E858743E2}"/>
                </a:ext>
              </a:extLst>
            </p:cNvPr>
            <p:cNvSpPr/>
            <p:nvPr/>
          </p:nvSpPr>
          <p:spPr>
            <a:xfrm>
              <a:off x="977895" y="1397804"/>
              <a:ext cx="569387" cy="93871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5500" dirty="0" smtClean="0">
                  <a:ln w="0"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</a:t>
              </a:r>
              <a:endParaRPr lang="en-US" sz="5500" dirty="0"/>
            </a:p>
          </p:txBody>
        </p:sp>
        <p:grpSp>
          <p:nvGrpSpPr>
            <p:cNvPr id="6" name="กลุ่ม 5"/>
            <p:cNvGrpSpPr/>
            <p:nvPr/>
          </p:nvGrpSpPr>
          <p:grpSpPr>
            <a:xfrm>
              <a:off x="5090894" y="2101091"/>
              <a:ext cx="3441546" cy="1338942"/>
              <a:chOff x="4543693" y="2522594"/>
              <a:chExt cx="3441546" cy="1338942"/>
            </a:xfrm>
          </p:grpSpPr>
          <p:sp>
            <p:nvSpPr>
              <p:cNvPr id="67" name="Rectangle 10">
                <a:extLst>
                  <a:ext uri="{FF2B5EF4-FFF2-40B4-BE49-F238E27FC236}">
                    <a16:creationId xmlns:a16="http://schemas.microsoft.com/office/drawing/2014/main" id="{2C5F8FEC-3EE9-4ABE-8622-3E8A56508C0C}"/>
                  </a:ext>
                </a:extLst>
              </p:cNvPr>
              <p:cNvSpPr/>
              <p:nvPr/>
            </p:nvSpPr>
            <p:spPr>
              <a:xfrm>
                <a:off x="4543693" y="2522594"/>
                <a:ext cx="2743149" cy="58477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th-TH" sz="1200" b="1" spc="-20" dirty="0">
                    <a:solidFill>
                      <a:prstClr val="black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ประชาชน</a:t>
                </a:r>
                <a:r>
                  <a:rPr lang="th-TH" sz="1200" b="1" spc="-20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พึ่งพา</a:t>
                </a:r>
                <a:r>
                  <a:rPr lang="en-US" sz="1200" b="1" spc="-20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th-TH" sz="1600" b="1" spc="-20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เทคโนโลยี</a:t>
                </a:r>
                <a:r>
                  <a:rPr lang="th-TH" sz="1600" b="1" spc="50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พลังงานสะอาด</a:t>
                </a:r>
                <a:r>
                  <a:rPr lang="th-TH" sz="1200" b="1" spc="50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เพิ่มขึ้น</a:t>
                </a:r>
                <a:endParaRPr lang="en-US" sz="1200" b="1" spc="5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68" name="Rectangle 11">
                <a:extLst>
                  <a:ext uri="{FF2B5EF4-FFF2-40B4-BE49-F238E27FC236}">
                    <a16:creationId xmlns:a16="http://schemas.microsoft.com/office/drawing/2014/main" id="{83B6379E-5940-4F2E-9E67-2C2C8EFA32CF}"/>
                  </a:ext>
                </a:extLst>
              </p:cNvPr>
              <p:cNvSpPr/>
              <p:nvPr/>
            </p:nvSpPr>
            <p:spPr>
              <a:xfrm>
                <a:off x="4556239" y="3122872"/>
                <a:ext cx="3429000" cy="7386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th-TH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ปี </a:t>
                </a:r>
                <a:r>
                  <a:rPr lang="th-TH" sz="14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2558 คิดเป็น 80.90</a:t>
                </a:r>
                <a:r>
                  <a:rPr lang="en-US" sz="14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%</a:t>
                </a:r>
                <a:endParaRPr lang="th-TH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th-TH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ปี 2559 </a:t>
                </a:r>
                <a:r>
                  <a:rPr lang="th-TH" sz="14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คิดเป็น 81.10</a:t>
                </a:r>
                <a:r>
                  <a:rPr lang="en-US" sz="14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%</a:t>
                </a: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th-TH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ปี 2560 </a:t>
                </a:r>
                <a:r>
                  <a:rPr lang="th-TH" sz="14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คิดเป็น </a:t>
                </a:r>
                <a:r>
                  <a:rPr lang="th-TH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82.</a:t>
                </a:r>
                <a:r>
                  <a:rPr lang="en-US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9</a:t>
                </a:r>
                <a:r>
                  <a:rPr lang="en-US" sz="14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%</a:t>
                </a:r>
              </a:p>
            </p:txBody>
          </p:sp>
          <p:pic>
            <p:nvPicPr>
              <p:cNvPr id="65" name="Picture 10">
                <a:extLst>
                  <a:ext uri="{FF2B5EF4-FFF2-40B4-BE49-F238E27FC236}">
                    <a16:creationId xmlns:a16="http://schemas.microsoft.com/office/drawing/2014/main" id="{62FB6A43-4BC3-41D8-9E08-612AE6C350C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duotone>
                  <a:prstClr val="black"/>
                  <a:schemeClr val="bg1">
                    <a:lumMod val="50000"/>
                    <a:tint val="45000"/>
                    <a:satMod val="400000"/>
                  </a:schemeClr>
                </a:duotone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0" b="100000" l="0" r="100000">
                            <a14:foregroundMark x1="30769" y1="64423" x2="30769" y2="64423"/>
                            <a14:foregroundMark x1="14423" y1="35577" x2="14423" y2="35577"/>
                          </a14:backgroundRemoval>
                        </a14:imgEffect>
                        <a14:imgEffect>
                          <a14:brightnessContrast contrast="-40000"/>
                        </a14:imgEffect>
                      </a14:imgLayer>
                    </a14:imgProps>
                  </a:ex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94729" y="2601019"/>
                <a:ext cx="533410" cy="533409"/>
              </a:xfrm>
              <a:prstGeom prst="rect">
                <a:avLst/>
              </a:prstGeom>
            </p:spPr>
          </p:pic>
        </p:grpSp>
        <p:sp>
          <p:nvSpPr>
            <p:cNvPr id="71" name="Rectangle 31">
              <a:extLst>
                <a:ext uri="{FF2B5EF4-FFF2-40B4-BE49-F238E27FC236}">
                  <a16:creationId xmlns:a16="http://schemas.microsoft.com/office/drawing/2014/main" id="{241A6B75-AB9F-483E-8B50-320E858743E2}"/>
                </a:ext>
              </a:extLst>
            </p:cNvPr>
            <p:cNvSpPr/>
            <p:nvPr/>
          </p:nvSpPr>
          <p:spPr>
            <a:xfrm>
              <a:off x="408508" y="3933056"/>
              <a:ext cx="569387" cy="93871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5500" dirty="0" smtClean="0">
                  <a:ln w="0"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</a:t>
              </a:r>
              <a:endParaRPr lang="en-US" sz="5500" dirty="0">
                <a:ln w="0"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74" name="Group 25">
              <a:extLst>
                <a:ext uri="{FF2B5EF4-FFF2-40B4-BE49-F238E27FC236}">
                  <a16:creationId xmlns:a16="http://schemas.microsoft.com/office/drawing/2014/main" id="{1A557B7B-BF75-47D0-8631-1F8BA6A24E88}"/>
                </a:ext>
              </a:extLst>
            </p:cNvPr>
            <p:cNvGrpSpPr/>
            <p:nvPr/>
          </p:nvGrpSpPr>
          <p:grpSpPr>
            <a:xfrm>
              <a:off x="5394549" y="4775240"/>
              <a:ext cx="2129779" cy="646332"/>
              <a:chOff x="3366218" y="3261093"/>
              <a:chExt cx="2129779" cy="440839"/>
            </a:xfrm>
          </p:grpSpPr>
          <p:sp>
            <p:nvSpPr>
              <p:cNvPr id="76" name="Rectangle 4">
                <a:extLst>
                  <a:ext uri="{FF2B5EF4-FFF2-40B4-BE49-F238E27FC236}">
                    <a16:creationId xmlns:a16="http://schemas.microsoft.com/office/drawing/2014/main" id="{0D7431F2-838D-4330-B127-A906A3974D61}"/>
                  </a:ext>
                </a:extLst>
              </p:cNvPr>
              <p:cNvSpPr/>
              <p:nvPr/>
            </p:nvSpPr>
            <p:spPr>
              <a:xfrm>
                <a:off x="3366218" y="3261093"/>
                <a:ext cx="1440160" cy="44083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lvl="0"/>
                <a:r>
                  <a:rPr lang="th-TH" sz="1100" b="1" spc="70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ลดความเข้มของ</a:t>
                </a:r>
                <a:r>
                  <a:rPr lang="en-US" sz="1100" b="1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/>
                </a:r>
                <a:br>
                  <a:rPr lang="en-US" sz="1100" b="1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th-TH" sz="1100" b="1" spc="-20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การใช้</a:t>
                </a:r>
                <a:r>
                  <a:rPr lang="en-US" sz="1100" b="1" spc="-20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th-TH" sz="1400" b="1" spc="-20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พลังงาน</a:t>
                </a:r>
              </a:p>
              <a:p>
                <a:pPr lvl="0"/>
                <a:r>
                  <a:rPr lang="en-US" sz="1050" b="1" spc="-20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(Energy Intensity)</a:t>
                </a:r>
                <a:endParaRPr lang="en-US" sz="900" b="1" spc="-2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77" name="Rectangle 23">
                <a:extLst>
                  <a:ext uri="{FF2B5EF4-FFF2-40B4-BE49-F238E27FC236}">
                    <a16:creationId xmlns:a16="http://schemas.microsoft.com/office/drawing/2014/main" id="{878ADAA5-8D6E-4B6A-A8FA-8EEB1AE6351F}"/>
                  </a:ext>
                </a:extLst>
              </p:cNvPr>
              <p:cNvSpPr/>
              <p:nvPr/>
            </p:nvSpPr>
            <p:spPr>
              <a:xfrm>
                <a:off x="4646466" y="3271880"/>
                <a:ext cx="849531" cy="39885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US" sz="3200" b="1" dirty="0" smtClean="0">
                    <a:solidFill>
                      <a:srgbClr val="FF0000"/>
                    </a:solidFill>
                    <a:ea typeface="Tahoma" pitchFamily="34" charset="0"/>
                    <a:cs typeface="Tahoma" pitchFamily="34" charset="0"/>
                  </a:rPr>
                  <a:t>30</a:t>
                </a:r>
                <a:r>
                  <a:rPr lang="en-US" sz="1800" b="1" dirty="0" smtClean="0">
                    <a:solidFill>
                      <a:srgbClr val="FF0000"/>
                    </a:solidFill>
                    <a:ea typeface="Tahoma" pitchFamily="34" charset="0"/>
                    <a:cs typeface="Tahoma" pitchFamily="34" charset="0"/>
                  </a:rPr>
                  <a:t>% </a:t>
                </a:r>
                <a:endParaRPr lang="en-US" sz="800" b="1" dirty="0">
                  <a:solidFill>
                    <a:srgbClr val="FF0000"/>
                  </a:solidFill>
                  <a:ea typeface="Tahoma" pitchFamily="34" charset="0"/>
                  <a:cs typeface="Tahoma" pitchFamily="34" charset="0"/>
                </a:endParaRPr>
              </a:p>
            </p:txBody>
          </p:sp>
        </p:grpSp>
        <p:pic>
          <p:nvPicPr>
            <p:cNvPr id="73" name="Picture 2" descr="ผลการค้นหารูปภาพสำหรับ บ้าน vector">
              <a:extLst>
                <a:ext uri="{FF2B5EF4-FFF2-40B4-BE49-F238E27FC236}">
                  <a16:creationId xmlns:a16="http://schemas.microsoft.com/office/drawing/2014/main" id="{BF17A38C-5341-463A-A1DC-51A947EC4B8E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31171" y="4837319"/>
              <a:ext cx="633019" cy="523219"/>
            </a:xfrm>
            <a:prstGeom prst="rect">
              <a:avLst/>
            </a:prstGeom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4" name="Rectangle 5">
              <a:extLst>
                <a:ext uri="{FF2B5EF4-FFF2-40B4-BE49-F238E27FC236}">
                  <a16:creationId xmlns:a16="http://schemas.microsoft.com/office/drawing/2014/main" id="{A1A58140-FC44-49C6-8951-799E2CA8C32E}"/>
                </a:ext>
              </a:extLst>
            </p:cNvPr>
            <p:cNvSpPr/>
            <p:nvPr/>
          </p:nvSpPr>
          <p:spPr>
            <a:xfrm>
              <a:off x="4550511" y="5597680"/>
              <a:ext cx="4225792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th-TH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ปี 2559 </a:t>
              </a:r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I </a:t>
              </a:r>
              <a:r>
                <a:rPr lang="th-TH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เท่ากับ </a:t>
              </a:r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th-TH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8.14 </a:t>
              </a:r>
              <a:r>
                <a:rPr lang="en-US" sz="14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ktoe</a:t>
              </a:r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/</a:t>
              </a:r>
              <a:r>
                <a:rPr lang="th-TH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พันล้านบาท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th-TH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ปี </a:t>
              </a:r>
              <a:r>
                <a:rPr lang="th-TH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560 </a:t>
              </a:r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I </a:t>
              </a:r>
              <a:r>
                <a:rPr lang="th-TH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เท่ากับ </a:t>
              </a:r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th-TH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7.91 </a:t>
              </a:r>
              <a:r>
                <a:rPr lang="en-US" sz="14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ktoe</a:t>
              </a:r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/</a:t>
              </a:r>
              <a:r>
                <a:rPr lang="th-TH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พันล้านบาท</a:t>
              </a:r>
              <a:endPara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th-TH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ปี</a:t>
              </a:r>
              <a:r>
                <a:rPr lang="en-US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561 EI</a:t>
              </a:r>
              <a:r>
                <a:rPr lang="th-TH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th-TH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เท่ากับ  </a:t>
              </a:r>
              <a:r>
                <a:rPr lang="en-US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8.00 </a:t>
              </a:r>
              <a:r>
                <a:rPr lang="en-US" sz="1400" dirty="0" err="1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ktoe</a:t>
              </a:r>
              <a:r>
                <a:rPr lang="en-US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/</a:t>
              </a:r>
              <a:r>
                <a:rPr lang="th-TH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พันล้าน</a:t>
              </a:r>
              <a:r>
                <a:rPr lang="th-TH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บาท </a:t>
              </a:r>
              <a:r>
                <a:rPr lang="en-US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(</a:t>
              </a:r>
              <a:r>
                <a:rPr lang="th-TH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ณ ก.ย.</a:t>
              </a:r>
              <a:r>
                <a:rPr lang="en-US" sz="14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) </a:t>
              </a:r>
              <a:r>
                <a:rPr lang="th-TH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/>
              </a:r>
              <a:br>
                <a:rPr lang="th-TH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endPara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grpSp>
          <p:nvGrpSpPr>
            <p:cNvPr id="4" name="กลุ่ม 3"/>
            <p:cNvGrpSpPr/>
            <p:nvPr/>
          </p:nvGrpSpPr>
          <p:grpSpPr>
            <a:xfrm>
              <a:off x="600444" y="4729497"/>
              <a:ext cx="3459409" cy="1277054"/>
              <a:chOff x="4584588" y="4738564"/>
              <a:chExt cx="3459409" cy="1277054"/>
            </a:xfrm>
          </p:grpSpPr>
          <p:sp>
            <p:nvSpPr>
              <p:cNvPr id="75" name="Rectangle 3">
                <a:extLst>
                  <a:ext uri="{FF2B5EF4-FFF2-40B4-BE49-F238E27FC236}">
                    <a16:creationId xmlns:a16="http://schemas.microsoft.com/office/drawing/2014/main" id="{93346C23-B0F0-47B5-BB81-B62EFDDAEFFB}"/>
                  </a:ext>
                </a:extLst>
              </p:cNvPr>
              <p:cNvSpPr/>
              <p:nvPr/>
            </p:nvSpPr>
            <p:spPr>
              <a:xfrm>
                <a:off x="4584588" y="5259897"/>
                <a:ext cx="3346965" cy="7386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th-TH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ปี 2559 </a:t>
                </a:r>
                <a:r>
                  <a:rPr lang="th-TH" sz="14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คิดเป็น </a:t>
                </a:r>
                <a:r>
                  <a:rPr lang="th-TH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13.83</a:t>
                </a:r>
                <a:r>
                  <a:rPr lang="en-US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14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%</a:t>
                </a:r>
                <a:endParaRPr lang="th-TH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th-TH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ปี </a:t>
                </a:r>
                <a:r>
                  <a:rPr lang="th-TH" sz="14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2560 คิดเป็น </a:t>
                </a:r>
                <a:r>
                  <a:rPr lang="th-TH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14.53</a:t>
                </a:r>
                <a:r>
                  <a:rPr lang="en-US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%</a:t>
                </a:r>
                <a:endParaRPr lang="th-TH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171450" indent="-171450">
                  <a:buFont typeface="Arial" panose="020B0604020202020204" pitchFamily="34" charset="0"/>
                  <a:buChar char="•"/>
                </a:pPr>
                <a:r>
                  <a:rPr lang="th-TH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ปี </a:t>
                </a:r>
                <a:r>
                  <a:rPr lang="en-US" sz="14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2561 </a:t>
                </a:r>
                <a:r>
                  <a:rPr lang="th-TH" sz="14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คิดเป็น </a:t>
                </a:r>
                <a:r>
                  <a:rPr lang="en-US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15.33%</a:t>
                </a:r>
                <a:r>
                  <a:rPr lang="th-TH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 </a:t>
                </a:r>
                <a:r>
                  <a:rPr lang="en-US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(</a:t>
                </a:r>
                <a:r>
                  <a:rPr lang="th-TH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ณ ก.ย.</a:t>
                </a:r>
                <a:r>
                  <a:rPr lang="en-US" sz="14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)</a:t>
                </a:r>
                <a:endParaRPr lang="th-TH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grpSp>
            <p:nvGrpSpPr>
              <p:cNvPr id="83" name="Group 30">
                <a:extLst>
                  <a:ext uri="{FF2B5EF4-FFF2-40B4-BE49-F238E27FC236}">
                    <a16:creationId xmlns:a16="http://schemas.microsoft.com/office/drawing/2014/main" id="{6CCD63E3-4B57-4DD9-A34B-33E80CE30A26}"/>
                  </a:ext>
                </a:extLst>
              </p:cNvPr>
              <p:cNvGrpSpPr/>
              <p:nvPr/>
            </p:nvGrpSpPr>
            <p:grpSpPr>
              <a:xfrm>
                <a:off x="4667712" y="4738564"/>
                <a:ext cx="3161568" cy="584775"/>
                <a:chOff x="3159385" y="4183878"/>
                <a:chExt cx="3161568" cy="398854"/>
              </a:xfrm>
            </p:grpSpPr>
            <p:sp>
              <p:nvSpPr>
                <p:cNvPr id="85" name="Rectangle 15">
                  <a:extLst>
                    <a:ext uri="{FF2B5EF4-FFF2-40B4-BE49-F238E27FC236}">
                      <a16:creationId xmlns:a16="http://schemas.microsoft.com/office/drawing/2014/main" id="{18103F4C-85BD-4024-94E8-F5B241A3B1C3}"/>
                    </a:ext>
                  </a:extLst>
                </p:cNvPr>
                <p:cNvSpPr/>
                <p:nvPr/>
              </p:nvSpPr>
              <p:spPr>
                <a:xfrm>
                  <a:off x="3159385" y="4225861"/>
                  <a:ext cx="2622774" cy="356869"/>
                </a:xfrm>
                <a:prstGeom prst="rect">
                  <a:avLst/>
                </a:prstGeom>
              </p:spPr>
              <p:txBody>
                <a:bodyPr wrap="square">
                  <a:spAutoFit/>
                </a:bodyPr>
                <a:lstStyle/>
                <a:p>
                  <a:r>
                    <a:rPr lang="th-TH" sz="1200" b="1" dirty="0">
                      <a:solidFill>
                        <a:schemeClr val="tx1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การใช้ </a:t>
                  </a:r>
                  <a:r>
                    <a:rPr lang="th-TH" sz="1600" b="1" dirty="0">
                      <a:solidFill>
                        <a:schemeClr val="tx1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พลังงานทดแทน</a:t>
                  </a:r>
                  <a:r>
                    <a:rPr lang="th-TH" sz="1200" b="1" dirty="0">
                      <a:solidFill>
                        <a:schemeClr val="tx1"/>
                      </a:solidFill>
                      <a:latin typeface="Tahoma" panose="020B0604030504040204" pitchFamily="34" charset="0"/>
                      <a:ea typeface="Tahoma" panose="020B0604030504040204" pitchFamily="34" charset="0"/>
                      <a:cs typeface="Tahoma" panose="020B0604030504040204" pitchFamily="34" charset="0"/>
                    </a:rPr>
                    <a:t> ต่อการใช้พลังงานขั้นสุดท้ายเพิ่มขึ้น</a:t>
                  </a:r>
                  <a:endParaRPr lang="en-US" sz="1200" b="1" dirty="0">
                    <a:solidFill>
                      <a:schemeClr val="tx1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endParaRPr>
                </a:p>
              </p:txBody>
            </p:sp>
            <p:sp>
              <p:nvSpPr>
                <p:cNvPr id="86" name="Rectangle 29">
                  <a:extLst>
                    <a:ext uri="{FF2B5EF4-FFF2-40B4-BE49-F238E27FC236}">
                      <a16:creationId xmlns:a16="http://schemas.microsoft.com/office/drawing/2014/main" id="{66BCC444-2F82-42F9-B457-65E0CEE7E40D}"/>
                    </a:ext>
                  </a:extLst>
                </p:cNvPr>
                <p:cNvSpPr/>
                <p:nvPr/>
              </p:nvSpPr>
              <p:spPr>
                <a:xfrm>
                  <a:off x="5509512" y="4183878"/>
                  <a:ext cx="811441" cy="398854"/>
                </a:xfrm>
                <a:prstGeom prst="rect">
                  <a:avLst/>
                </a:prstGeom>
              </p:spPr>
              <p:txBody>
                <a:bodyPr wrap="none">
                  <a:spAutoFit/>
                </a:bodyPr>
                <a:lstStyle/>
                <a:p>
                  <a:r>
                    <a:rPr lang="en-US" sz="3200" b="1" dirty="0">
                      <a:solidFill>
                        <a:srgbClr val="FF0000"/>
                      </a:solidFill>
                      <a:ea typeface="Tahoma" pitchFamily="34" charset="0"/>
                      <a:cs typeface="Tahoma" pitchFamily="34" charset="0"/>
                    </a:rPr>
                    <a:t>30</a:t>
                  </a:r>
                  <a:r>
                    <a:rPr lang="en-US" sz="1500" b="1" dirty="0">
                      <a:solidFill>
                        <a:srgbClr val="FF0000"/>
                      </a:solidFill>
                      <a:ea typeface="Tahoma" pitchFamily="34" charset="0"/>
                      <a:cs typeface="Tahoma" pitchFamily="34" charset="0"/>
                    </a:rPr>
                    <a:t>%</a:t>
                  </a:r>
                  <a:endParaRPr lang="en-US" sz="1500" dirty="0"/>
                </a:p>
              </p:txBody>
            </p:sp>
          </p:grpSp>
          <p:pic>
            <p:nvPicPr>
              <p:cNvPr id="82" name="Picture 9">
                <a:extLst>
                  <a:ext uri="{FF2B5EF4-FFF2-40B4-BE49-F238E27FC236}">
                    <a16:creationId xmlns:a16="http://schemas.microsoft.com/office/drawing/2014/main" id="{8C7F8896-1740-477F-BA9D-3F0616F12F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24057" y="5395679"/>
                <a:ext cx="619940" cy="619939"/>
              </a:xfrm>
              <a:prstGeom prst="rect">
                <a:avLst/>
              </a:prstGeom>
            </p:spPr>
          </p:pic>
        </p:grpSp>
        <p:sp>
          <p:nvSpPr>
            <p:cNvPr id="80" name="Rectangle 31">
              <a:extLst>
                <a:ext uri="{FF2B5EF4-FFF2-40B4-BE49-F238E27FC236}">
                  <a16:creationId xmlns:a16="http://schemas.microsoft.com/office/drawing/2014/main" id="{241A6B75-AB9F-483E-8B50-320E858743E2}"/>
                </a:ext>
              </a:extLst>
            </p:cNvPr>
            <p:cNvSpPr/>
            <p:nvPr/>
          </p:nvSpPr>
          <p:spPr>
            <a:xfrm>
              <a:off x="4554451" y="3932393"/>
              <a:ext cx="569387" cy="93871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US" sz="5500" dirty="0" smtClean="0">
                  <a:ln w="0"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3</a:t>
              </a:r>
              <a:endParaRPr lang="en-US" sz="5500" dirty="0">
                <a:ln w="0"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" name="สี่เหลี่ยมผืนผ้า 8"/>
            <p:cNvSpPr/>
            <p:nvPr/>
          </p:nvSpPr>
          <p:spPr>
            <a:xfrm>
              <a:off x="1436166" y="1596160"/>
              <a:ext cx="6620442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th-TH" sz="14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สร้างหลักประกันว่ามีการเข้าถึงการบริการพลังงานสมัยใหม่ในราคาที่สามารถซื้อหาได้ และ เชื่อถือได้ ภายในปี 2573</a:t>
              </a:r>
            </a:p>
          </p:txBody>
        </p:sp>
        <p:sp>
          <p:nvSpPr>
            <p:cNvPr id="10" name="สี่เหลี่ยมผืนผ้า 9"/>
            <p:cNvSpPr/>
            <p:nvPr/>
          </p:nvSpPr>
          <p:spPr>
            <a:xfrm>
              <a:off x="948906" y="4045339"/>
              <a:ext cx="3295664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th-TH" sz="14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เพิ่มสัดส่วนของพลังงานทดแทน</a:t>
              </a:r>
              <a:r>
                <a:rPr lang="th-TH" sz="14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ใน</a:t>
              </a:r>
              <a:br>
                <a:rPr lang="th-TH" sz="14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th-TH" sz="1400" b="1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าร</a:t>
              </a:r>
              <a:r>
                <a:rPr lang="th-TH" sz="14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ใช้พลังงานแบบผสมผสานการใช้พลังงานของโลก ภายในปี 2573</a:t>
              </a:r>
            </a:p>
          </p:txBody>
        </p:sp>
        <p:sp>
          <p:nvSpPr>
            <p:cNvPr id="11" name="สี่เหลี่ยมผืนผ้า 10"/>
            <p:cNvSpPr/>
            <p:nvPr/>
          </p:nvSpPr>
          <p:spPr>
            <a:xfrm>
              <a:off x="4999532" y="4133228"/>
              <a:ext cx="374293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th-TH" sz="1400" b="1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เพิ่มอัตราการปรับปรุงประสิทธิภาพการใช้</a:t>
              </a:r>
              <a:r>
                <a:rPr lang="th-TH" sz="1400" b="1" spc="-5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พลังงานของโลกให้เพิ่มขึ้น 2 เท่า ภายใน</a:t>
              </a:r>
              <a:r>
                <a:rPr lang="th-TH" sz="1400" b="1" spc="-5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ปี </a:t>
              </a:r>
              <a:r>
                <a:rPr lang="th-TH" sz="1200" b="1" spc="-5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573</a:t>
              </a:r>
              <a:endParaRPr lang="th-TH" sz="1200" b="1" spc="-5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3" name="สี่เหลี่ยมผืนผ้า 12"/>
            <p:cNvSpPr/>
            <p:nvPr/>
          </p:nvSpPr>
          <p:spPr>
            <a:xfrm>
              <a:off x="7762986" y="4955867"/>
              <a:ext cx="876298" cy="46570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>
                <a:lnSpc>
                  <a:spcPts val="1500"/>
                </a:lnSpc>
              </a:pPr>
              <a:r>
                <a:rPr lang="en-US" sz="2400" b="1" dirty="0" smtClean="0">
                  <a:solidFill>
                    <a:srgbClr val="FF0000"/>
                  </a:solidFill>
                  <a:ea typeface="Tahoma" pitchFamily="34" charset="0"/>
                  <a:cs typeface="Tahoma" pitchFamily="34" charset="0"/>
                </a:rPr>
                <a:t>5.98</a:t>
              </a:r>
              <a:r>
                <a:rPr lang="en-US" sz="1050" b="1" dirty="0" smtClean="0">
                  <a:solidFill>
                    <a:srgbClr val="FF0000"/>
                  </a:solidFill>
                  <a:ea typeface="Tahoma" pitchFamily="34" charset="0"/>
                  <a:cs typeface="Tahoma" pitchFamily="34" charset="0"/>
                </a:rPr>
                <a:t> </a:t>
              </a:r>
              <a:r>
                <a:rPr lang="en-US" sz="900" b="1" dirty="0" smtClean="0">
                  <a:solidFill>
                    <a:srgbClr val="FF0000"/>
                  </a:solidFill>
                  <a:ea typeface="Tahoma" pitchFamily="34" charset="0"/>
                  <a:cs typeface="Tahoma" pitchFamily="34" charset="0"/>
                </a:rPr>
                <a:t>   </a:t>
              </a:r>
              <a:br>
                <a:rPr lang="en-US" sz="900" b="1" dirty="0" smtClean="0">
                  <a:solidFill>
                    <a:srgbClr val="FF0000"/>
                  </a:solidFill>
                  <a:ea typeface="Tahoma" pitchFamily="34" charset="0"/>
                  <a:cs typeface="Tahoma" pitchFamily="34" charset="0"/>
                </a:rPr>
              </a:br>
              <a:r>
                <a:rPr lang="en-US" sz="1050" b="1" dirty="0" err="1" smtClean="0">
                  <a:solidFill>
                    <a:srgbClr val="FF0000"/>
                  </a:solidFill>
                  <a:latin typeface="TH SarabunPSK" panose="020B0500040200020003" pitchFamily="34" charset="-34"/>
                  <a:ea typeface="Tahoma" pitchFamily="34" charset="0"/>
                  <a:cs typeface="TH SarabunPSK" panose="020B0500040200020003" pitchFamily="34" charset="-34"/>
                </a:rPr>
                <a:t>ktoe</a:t>
              </a:r>
              <a:r>
                <a:rPr lang="en-US" sz="1050" b="1" dirty="0" smtClean="0">
                  <a:solidFill>
                    <a:srgbClr val="FF0000"/>
                  </a:solidFill>
                  <a:latin typeface="TH SarabunPSK" panose="020B0500040200020003" pitchFamily="34" charset="-34"/>
                  <a:ea typeface="Tahoma" pitchFamily="34" charset="0"/>
                  <a:cs typeface="TH SarabunPSK" panose="020B0500040200020003" pitchFamily="34" charset="-34"/>
                </a:rPr>
                <a:t>/</a:t>
              </a:r>
              <a:r>
                <a:rPr lang="th-TH" sz="1050" b="1" dirty="0" smtClean="0">
                  <a:solidFill>
                    <a:srgbClr val="FF0000"/>
                  </a:solidFill>
                  <a:latin typeface="TH SarabunPSK" panose="020B0500040200020003" pitchFamily="34" charset="-34"/>
                  <a:ea typeface="Tahoma" pitchFamily="34" charset="0"/>
                  <a:cs typeface="TH SarabunPSK" panose="020B0500040200020003" pitchFamily="34" charset="-34"/>
                </a:rPr>
                <a:t>พันล้าน</a:t>
              </a:r>
              <a:r>
                <a:rPr lang="th-TH" sz="1050" b="1" dirty="0">
                  <a:solidFill>
                    <a:srgbClr val="FF0000"/>
                  </a:solidFill>
                  <a:latin typeface="TH SarabunPSK" panose="020B0500040200020003" pitchFamily="34" charset="-34"/>
                  <a:ea typeface="Tahoma" pitchFamily="34" charset="0"/>
                  <a:cs typeface="TH SarabunPSK" panose="020B0500040200020003" pitchFamily="34" charset="-34"/>
                </a:rPr>
                <a:t>บาท</a:t>
              </a:r>
              <a:endParaRPr lang="th-TH" sz="4400" dirty="0">
                <a:latin typeface="TH SarabunPSK" panose="020B0500040200020003" pitchFamily="34" charset="-34"/>
                <a:cs typeface="TH SarabunPSK" panose="020B0500040200020003" pitchFamily="34" charset="-34"/>
              </a:endParaRPr>
            </a:p>
          </p:txBody>
        </p:sp>
        <p:sp>
          <p:nvSpPr>
            <p:cNvPr id="3" name="สี่เหลี่ยมผืนผ้า 2"/>
            <p:cNvSpPr/>
            <p:nvPr/>
          </p:nvSpPr>
          <p:spPr>
            <a:xfrm>
              <a:off x="7371214" y="4942329"/>
              <a:ext cx="441146" cy="43088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th-TH" sz="1100" b="1" dirty="0" smtClean="0">
                  <a:solidFill>
                    <a:srgbClr val="FF0000"/>
                  </a:solidFill>
                  <a:latin typeface="TH SarabunPSK" panose="020B0500040200020003" pitchFamily="34" charset="-34"/>
                  <a:ea typeface="Tahoma" pitchFamily="34" charset="0"/>
                  <a:cs typeface="TH SarabunPSK" panose="020B0500040200020003" pitchFamily="34" charset="-34"/>
                </a:rPr>
                <a:t>หรือ</a:t>
              </a:r>
              <a:br>
                <a:rPr lang="th-TH" sz="1100" b="1" dirty="0" smtClean="0">
                  <a:solidFill>
                    <a:srgbClr val="FF0000"/>
                  </a:solidFill>
                  <a:latin typeface="TH SarabunPSK" panose="020B0500040200020003" pitchFamily="34" charset="-34"/>
                  <a:ea typeface="Tahoma" pitchFamily="34" charset="0"/>
                  <a:cs typeface="TH SarabunPSK" panose="020B0500040200020003" pitchFamily="34" charset="-34"/>
                </a:rPr>
              </a:br>
              <a:r>
                <a:rPr lang="th-TH" sz="1100" b="1" dirty="0" smtClean="0">
                  <a:solidFill>
                    <a:srgbClr val="FF0000"/>
                  </a:solidFill>
                  <a:latin typeface="TH SarabunPSK" panose="020B0500040200020003" pitchFamily="34" charset="-34"/>
                  <a:ea typeface="Tahoma" pitchFamily="34" charset="0"/>
                  <a:cs typeface="TH SarabunPSK" panose="020B0500040200020003" pitchFamily="34" charset="-34"/>
                </a:rPr>
                <a:t>เท่ากับ</a:t>
              </a:r>
              <a:endParaRPr lang="th-TH" sz="1100" dirty="0"/>
            </a:p>
          </p:txBody>
        </p:sp>
      </p:grpSp>
      <p:sp>
        <p:nvSpPr>
          <p:cNvPr id="7" name="TextBox 6"/>
          <p:cNvSpPr txBox="1"/>
          <p:nvPr/>
        </p:nvSpPr>
        <p:spPr>
          <a:xfrm>
            <a:off x="485433" y="6502487"/>
            <a:ext cx="190146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th-TH" sz="105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ข้อมูล ณ 15 มกราคม 2562</a:t>
            </a:r>
            <a:endParaRPr lang="th-TH" sz="105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1" name="Rectangle 16">
            <a:extLst>
              <a:ext uri="{FF2B5EF4-FFF2-40B4-BE49-F238E27FC236}">
                <a16:creationId xmlns:a16="http://schemas.microsoft.com/office/drawing/2014/main" id="{8E6E70F3-A0F9-467D-B85B-C3ADBED7D299}"/>
              </a:ext>
            </a:extLst>
          </p:cNvPr>
          <p:cNvSpPr/>
          <p:nvPr/>
        </p:nvSpPr>
        <p:spPr>
          <a:xfrm>
            <a:off x="600444" y="697863"/>
            <a:ext cx="7252349" cy="584775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th-TH" sz="1600" dirty="0" smtClean="0">
                <a:ln w="0"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กระทรวงพลังงานเป็นผู้รับผิดชอบการติดตามและขับเคลื่อน</a:t>
            </a:r>
          </a:p>
          <a:p>
            <a:r>
              <a:rPr lang="th-TH" sz="1600" dirty="0" smtClean="0">
                <a:ln w="0"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เป้าหมาย</a:t>
            </a:r>
            <a:r>
              <a:rPr lang="th-TH" sz="1600" dirty="0" smtClean="0">
                <a:ln w="0"/>
                <a:ea typeface="Tahoma" panose="020B0604030504040204" pitchFamily="34" charset="0"/>
                <a:cs typeface="Tahoma" panose="020B0604030504040204" pitchFamily="34" charset="0"/>
              </a:rPr>
              <a:t>การ</a:t>
            </a:r>
            <a:r>
              <a:rPr lang="th-TH" sz="1600" dirty="0">
                <a:ln w="0"/>
                <a:ea typeface="Tahoma" panose="020B0604030504040204" pitchFamily="34" charset="0"/>
                <a:cs typeface="Tahoma" panose="020B0604030504040204" pitchFamily="34" charset="0"/>
              </a:rPr>
              <a:t>พัฒนาที่ยั่งยืนด้าน</a:t>
            </a:r>
            <a:r>
              <a:rPr lang="th-TH" sz="1600" dirty="0" smtClean="0">
                <a:ln w="0"/>
                <a:ea typeface="Tahoma" panose="020B0604030504040204" pitchFamily="34" charset="0"/>
                <a:cs typeface="Tahoma" panose="020B0604030504040204" pitchFamily="34" charset="0"/>
              </a:rPr>
              <a:t>พลังงาน (เป้าที่ 7) ปี 2579 ใน 3 เป้าหมาย 4 ตัวชี้วัด </a:t>
            </a:r>
            <a:endParaRPr lang="th-TH" sz="1600" dirty="0">
              <a:ln w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0018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CC8D51-5B81-4427-8368-374905FFCA51}" type="slidenum">
              <a:rPr kumimoji="0" lang="en-US" altLang="th-TH" sz="10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altLang="th-TH" sz="10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6" name="Rectangle 16">
            <a:extLst>
              <a:ext uri="{FF2B5EF4-FFF2-40B4-BE49-F238E27FC236}">
                <a16:creationId xmlns:a16="http://schemas.microsoft.com/office/drawing/2014/main" id="{8E6E70F3-A0F9-467D-B85B-C3ADBED7D299}"/>
              </a:ext>
            </a:extLst>
          </p:cNvPr>
          <p:cNvSpPr/>
          <p:nvPr/>
        </p:nvSpPr>
        <p:spPr>
          <a:xfrm>
            <a:off x="118003" y="154092"/>
            <a:ext cx="7883699" cy="3693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th-TH" b="1" dirty="0" smtClean="0">
                <a:ln w="0"/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เป้าหมายการลดการปล่อยก๊าซเรือนกระจกภาคพลังงาน </a:t>
            </a:r>
            <a:endParaRPr lang="th-TH" sz="1800" b="1" dirty="0">
              <a:ln w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4799" y="838200"/>
            <a:ext cx="800100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h-TH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ประเทศไทยมีแผน</a:t>
            </a:r>
            <a:r>
              <a:rPr lang="th-TH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แม่บทการลดก๊าซเรือนกระจก </a:t>
            </a:r>
            <a:r>
              <a:rPr lang="th-TH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เพื่อดำเนินงานตามเป้าหมาย </a:t>
            </a:r>
            <a:r>
              <a:rPr lang="en-US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DC</a:t>
            </a:r>
            <a:r>
              <a:rPr lang="th-TH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ซึ่งจะลดก๊าซเรือนกระจก</a:t>
            </a:r>
            <a:r>
              <a:rPr lang="en-US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th-TH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ร้อยละ </a:t>
            </a:r>
            <a:r>
              <a:rPr lang="th-TH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0-25 </a:t>
            </a:r>
            <a:r>
              <a:rPr lang="th-TH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ภายในปี พ.ศ. 2573 </a:t>
            </a:r>
            <a:endParaRPr lang="th-TH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h-TH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ระทรวงพลังงาน (</a:t>
            </a:r>
            <a:r>
              <a:rPr lang="th-TH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นพ.) ได</a:t>
            </a:r>
            <a:r>
              <a:rPr lang="th-TH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้</a:t>
            </a:r>
            <a:r>
              <a:rPr lang="th-TH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จัดทำ</a:t>
            </a:r>
            <a:r>
              <a:rPr lang="th-TH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แผนปฏิบัติ</a:t>
            </a:r>
            <a:r>
              <a:rPr lang="th-TH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ารลดก๊าซเรือนกระจกภาค</a:t>
            </a:r>
            <a:r>
              <a:rPr lang="th-TH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พลังงาน </a:t>
            </a:r>
            <a:r>
              <a:rPr lang="th-TH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ปี พ.ศ. 2564 – 2573 สาขาพลังงาน </a:t>
            </a:r>
            <a:r>
              <a:rPr lang="th-TH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en-US" sz="16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h-TH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มาตรการตามแผน </a:t>
            </a:r>
            <a:r>
              <a:rPr lang="en-US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EP</a:t>
            </a:r>
            <a:r>
              <a:rPr lang="th-TH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และ </a:t>
            </a:r>
            <a:r>
              <a:rPr lang="en-US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EDP</a:t>
            </a:r>
            <a:r>
              <a:rPr lang="en-US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th-TH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คาดว่าจะสามารถลดการปล่อยก๊าซเรือนกระจกได้ 27</a:t>
            </a:r>
            <a:r>
              <a:rPr lang="en-US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th-TH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และ 90 ล้านตัน </a:t>
            </a:r>
            <a:r>
              <a: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</a:t>
            </a:r>
            <a:r>
              <a:rPr lang="en-US" sz="1600" baseline="-25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th-TH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ภายในปี พ.ศ. 2573 ตามลำดับ</a:t>
            </a:r>
            <a:r>
              <a:rPr lang="en-US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th-TH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en-US" sz="16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" name="Picture 1" descr="Screen Clippi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570" y="2514600"/>
            <a:ext cx="8620979" cy="4134459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33400" y="6505729"/>
            <a:ext cx="2059216" cy="27699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th-TH" sz="120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ที่มา</a:t>
            </a:r>
            <a:r>
              <a:rPr kumimoji="0" lang="en-US" sz="120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 </a:t>
            </a:r>
            <a:r>
              <a:rPr lang="en-US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th-TH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นพ. กระทรวงพลังงาน</a:t>
            </a:r>
            <a:endParaRPr kumimoji="0" lang="en-US" sz="120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0819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ตัวแทนหมายเลขสไลด์ 1"/>
          <p:cNvSpPr>
            <a:spLocks noGrp="1"/>
          </p:cNvSpPr>
          <p:nvPr>
            <p:ph type="sldNum" sz="quarter" idx="12"/>
          </p:nvPr>
        </p:nvSpPr>
        <p:spPr>
          <a:xfrm>
            <a:off x="6948264" y="6448251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2</a:t>
            </a:r>
          </a:p>
        </p:txBody>
      </p:sp>
      <p:sp>
        <p:nvSpPr>
          <p:cNvPr id="8" name="Title 369"/>
          <p:cNvSpPr>
            <a:spLocks noGrp="1"/>
          </p:cNvSpPr>
          <p:nvPr>
            <p:ph type="title"/>
          </p:nvPr>
        </p:nvSpPr>
        <p:spPr>
          <a:xfrm>
            <a:off x="120068" y="49893"/>
            <a:ext cx="6588224" cy="511220"/>
          </a:xfrm>
          <a:noFill/>
          <a:ln>
            <a:noFill/>
          </a:ln>
        </p:spPr>
        <p:txBody>
          <a:bodyPr anchor="ctr"/>
          <a:lstStyle/>
          <a:p>
            <a:r>
              <a:rPr lang="th-TH" sz="2000" b="1" dirty="0">
                <a:solidFill>
                  <a:schemeClr val="tx1"/>
                </a:solidFill>
              </a:rPr>
              <a:t> </a:t>
            </a:r>
            <a:r>
              <a:rPr lang="th-TH" sz="2000" dirty="0">
                <a:solidFill>
                  <a:schemeClr val="tx1"/>
                </a:solidFill>
              </a:rPr>
              <a:t>ประเด็น</a:t>
            </a:r>
            <a:r>
              <a:rPr lang="th-TH" sz="2000" dirty="0" smtClean="0">
                <a:solidFill>
                  <a:schemeClr val="tx1"/>
                </a:solidFill>
              </a:rPr>
              <a:t>นโยบายพลังงานไทยที่สำคัญ</a:t>
            </a:r>
            <a:endParaRPr lang="th-TH" sz="2000" dirty="0">
              <a:solidFill>
                <a:schemeClr val="tx1"/>
              </a:solidFill>
            </a:endParaRPr>
          </a:p>
        </p:txBody>
      </p:sp>
      <p:grpSp>
        <p:nvGrpSpPr>
          <p:cNvPr id="12" name="Group 11"/>
          <p:cNvGrpSpPr/>
          <p:nvPr/>
        </p:nvGrpSpPr>
        <p:grpSpPr>
          <a:xfrm>
            <a:off x="762000" y="609600"/>
            <a:ext cx="8189235" cy="5725426"/>
            <a:chOff x="762000" y="990600"/>
            <a:chExt cx="8189235" cy="5725426"/>
          </a:xfrm>
        </p:grpSpPr>
        <p:sp>
          <p:nvSpPr>
            <p:cNvPr id="3" name="TextBox 2"/>
            <p:cNvSpPr txBox="1"/>
            <p:nvPr/>
          </p:nvSpPr>
          <p:spPr>
            <a:xfrm>
              <a:off x="2438400" y="1360714"/>
              <a:ext cx="6480178" cy="53553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spcBef>
                  <a:spcPts val="600"/>
                </a:spcBef>
                <a:buFont typeface="+mj-lt"/>
                <a:buAutoNum type="arabicPeriod"/>
              </a:pPr>
              <a:r>
                <a:rPr lang="th-TH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ารขับเคลื่อน </a:t>
              </a:r>
              <a:r>
                <a:rPr lang="en-US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DP 2018</a:t>
              </a:r>
            </a:p>
            <a:p>
              <a:pPr marL="342900" indent="-342900">
                <a:spcBef>
                  <a:spcPts val="600"/>
                </a:spcBef>
                <a:buFont typeface="+mj-lt"/>
                <a:buAutoNum type="arabicPeriod"/>
              </a:pPr>
              <a:r>
                <a:rPr lang="th-TH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โซลา</a:t>
              </a:r>
              <a:r>
                <a:rPr lang="th-TH" sz="1600" dirty="0" err="1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ร์</a:t>
              </a:r>
              <a:r>
                <a:rPr lang="th-TH" sz="16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ประชาชน</a:t>
              </a:r>
            </a:p>
            <a:p>
              <a:pPr marL="342900" indent="-342900">
                <a:spcBef>
                  <a:spcPts val="600"/>
                </a:spcBef>
                <a:buFont typeface="+mj-lt"/>
                <a:buAutoNum type="arabicPeriod"/>
              </a:pPr>
              <a:r>
                <a:rPr lang="th-TH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นโยบาย</a:t>
              </a:r>
              <a:r>
                <a:rPr lang="th-TH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ราคาพลังงาน</a:t>
              </a:r>
            </a:p>
            <a:p>
              <a:pPr marL="342900" indent="-342900">
                <a:spcBef>
                  <a:spcPts val="600"/>
                </a:spcBef>
                <a:buFont typeface="+mj-lt"/>
                <a:buAutoNum type="arabicPeriod"/>
              </a:pPr>
              <a:endParaRPr lang="th-TH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42900" indent="-342900">
                <a:spcBef>
                  <a:spcPts val="600"/>
                </a:spcBef>
                <a:buFont typeface="+mj-lt"/>
                <a:buAutoNum type="arabicPeriod"/>
              </a:pPr>
              <a:r>
                <a:rPr lang="th-TH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ารบริหารจัดการแหล่งบงกชและเอราวัณให้ต่อเนื่อง</a:t>
              </a:r>
              <a:r>
                <a:rPr lang="en-US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endParaRPr lang="th-TH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42900" indent="-342900">
                <a:spcBef>
                  <a:spcPts val="600"/>
                </a:spcBef>
                <a:buFont typeface="+mj-lt"/>
                <a:buAutoNum type="arabicPeriod"/>
              </a:pPr>
              <a:r>
                <a:rPr lang="th-TH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าร</a:t>
              </a:r>
              <a:r>
                <a:rPr lang="th-TH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นำเข้า </a:t>
              </a:r>
              <a:r>
                <a:rPr lang="en-US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LNG </a:t>
              </a:r>
              <a:r>
                <a:rPr lang="th-TH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ของ กฟผ.</a:t>
              </a:r>
              <a:endPara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42900" indent="-342900">
                <a:spcBef>
                  <a:spcPts val="600"/>
                </a:spcBef>
                <a:buFont typeface="+mj-lt"/>
                <a:buAutoNum type="arabicPeriod"/>
              </a:pPr>
              <a:endParaRPr lang="th-TH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42900" indent="-342900">
                <a:spcBef>
                  <a:spcPts val="600"/>
                </a:spcBef>
                <a:buFont typeface="+mj-lt"/>
                <a:buAutoNum type="arabicPeriod"/>
              </a:pPr>
              <a:r>
                <a:rPr lang="th-TH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ารส่งเสริมการใช้น้ำมันไบโอดีเซล</a:t>
              </a:r>
              <a:r>
                <a:rPr lang="en-US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B10 B 20</a:t>
              </a:r>
            </a:p>
            <a:p>
              <a:pPr marL="342900" indent="-342900">
                <a:spcBef>
                  <a:spcPts val="600"/>
                </a:spcBef>
                <a:buFont typeface="+mj-lt"/>
                <a:buAutoNum type="arabicPeriod"/>
              </a:pPr>
              <a:r>
                <a:rPr lang="th-TH" sz="16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าร</a:t>
              </a:r>
              <a:r>
                <a:rPr lang="th-TH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ปรับคุณภาพน้ำมันให้เป็น</a:t>
              </a:r>
              <a:r>
                <a:rPr lang="id-ID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EURO</a:t>
              </a:r>
              <a:r>
                <a:rPr lang="th-TH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id-ID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5</a:t>
              </a:r>
              <a:endParaRPr lang="en-US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42900" indent="-342900">
                <a:spcBef>
                  <a:spcPts val="600"/>
                </a:spcBef>
                <a:buFont typeface="+mj-lt"/>
                <a:buAutoNum type="arabicPeriod"/>
              </a:pPr>
              <a:r>
                <a:rPr lang="th-TH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ารบริหารกองทุนน้ำมันเชื้อเพลิง</a:t>
              </a:r>
              <a:endParaRPr lang="en-US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42900" indent="-342900">
                <a:spcBef>
                  <a:spcPts val="600"/>
                </a:spcBef>
                <a:buFont typeface="+mj-lt"/>
                <a:buAutoNum type="arabicPeriod"/>
              </a:pPr>
              <a:endParaRPr lang="en-US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42900" indent="-342900">
                <a:spcBef>
                  <a:spcPts val="600"/>
                </a:spcBef>
                <a:buFont typeface="+mj-lt"/>
                <a:buAutoNum type="arabicPeriod"/>
              </a:pPr>
              <a:r>
                <a:rPr lang="th-TH" sz="1600" dirty="0" err="1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ารจัด</a:t>
              </a:r>
              <a:r>
                <a:rPr lang="th-TH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ทำแผนพลังงาน ประกอบด้วย </a:t>
              </a:r>
              <a:r>
                <a:rPr lang="en-US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Gas Plan Oil Plan AEDP </a:t>
              </a:r>
              <a:r>
                <a:rPr lang="th-TH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และ </a:t>
              </a:r>
              <a:r>
                <a:rPr lang="en-US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EP</a:t>
              </a:r>
            </a:p>
            <a:p>
              <a:pPr marL="342900" indent="-342900">
                <a:spcBef>
                  <a:spcPts val="600"/>
                </a:spcBef>
                <a:buFont typeface="+mj-lt"/>
                <a:buAutoNum type="arabicPeriod"/>
              </a:pPr>
              <a:r>
                <a:rPr lang="th-TH" sz="16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าร</a:t>
              </a:r>
              <a:r>
                <a:rPr lang="th-TH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เป็นเจ้าภาพการประชุมเจ้าหน้าที่อาวุโสอาเซียนด้าน</a:t>
              </a:r>
              <a:r>
                <a:rPr lang="th-TH" sz="16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พลังงาน</a:t>
              </a:r>
            </a:p>
            <a:p>
              <a:pPr marL="342900" indent="-342900">
                <a:spcBef>
                  <a:spcPts val="600"/>
                </a:spcBef>
                <a:buFont typeface="+mj-lt"/>
                <a:buAutoNum type="arabicPeriod"/>
              </a:pPr>
              <a:endParaRPr lang="en-US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42900" indent="-342900">
                <a:spcBef>
                  <a:spcPts val="600"/>
                </a:spcBef>
                <a:buFont typeface="+mj-lt"/>
                <a:buAutoNum type="arabicPeriod"/>
              </a:pPr>
              <a:r>
                <a:rPr lang="th-TH" sz="1600" dirty="0" err="1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ารจัด</a:t>
              </a:r>
              <a:r>
                <a:rPr lang="th-TH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สรรอัตราข้าราชการ</a:t>
              </a:r>
              <a:r>
                <a:rPr lang="th-TH" sz="1600" dirty="0" err="1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ตั้งใหม่</a:t>
              </a:r>
              <a:r>
                <a:rPr lang="th-TH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ให้แก่สำนักงานปลัดกระทรวง กระทรวงพลังงาน จำนวน 78 อัตรา</a:t>
              </a:r>
            </a:p>
            <a:p>
              <a:pPr marL="342900" indent="-342900">
                <a:buFont typeface="+mj-lt"/>
                <a:buAutoNum type="arabicPeriod"/>
              </a:pPr>
              <a:endPara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088493" y="1578596"/>
              <a:ext cx="1066957" cy="4708979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th-TH" sz="2000" b="1" i="0" u="none" strike="noStrike" cap="none" spc="0" normalizeH="0" baseline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ไฟฟ้า</a:t>
              </a:r>
            </a:p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th-TH" sz="2000" b="1" i="0" u="none" strike="noStrike" cap="none" spc="0" normalizeH="0" baseline="0" dirty="0" smtClean="0">
                <a:ln>
                  <a:noFill/>
                </a:ln>
                <a:solidFill>
                  <a:schemeClr val="accent5"/>
                </a:solidFill>
                <a:effectLst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th-TH" sz="2000" b="1" dirty="0">
                <a:solidFill>
                  <a:schemeClr val="accent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2000" b="1" i="0" u="none" strike="noStrike" cap="none" spc="0" normalizeH="0" baseline="0" dirty="0" smtClean="0">
                <a:ln>
                  <a:noFill/>
                </a:ln>
                <a:solidFill>
                  <a:schemeClr val="accent5"/>
                </a:solidFill>
                <a:effectLst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th-TH" sz="2000" b="1" i="0" u="none" strike="noStrike" cap="none" spc="0" normalizeH="0" baseline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ก๊าซ</a:t>
              </a:r>
            </a:p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th-TH" sz="2000" b="1" dirty="0">
                <a:solidFill>
                  <a:schemeClr val="accent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th-TH" sz="2000" b="1" dirty="0">
                <a:solidFill>
                  <a:schemeClr val="accent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th-TH" sz="2000" b="1" i="0" u="none" strike="noStrike" cap="none" spc="0" normalizeH="0" baseline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น้ำมัน</a:t>
              </a:r>
            </a:p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US" sz="2000" b="1" dirty="0" smtClean="0">
                <a:solidFill>
                  <a:schemeClr val="accent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th-TH" sz="2000" b="1" dirty="0">
                <a:solidFill>
                  <a:schemeClr val="accent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th-TH" sz="2000" b="1" i="0" u="none" strike="noStrike" cap="none" spc="0" normalizeH="0" baseline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แผนงาน</a:t>
              </a:r>
            </a:p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US" sz="2000" b="1" dirty="0" smtClean="0">
                <a:solidFill>
                  <a:schemeClr val="accent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th-TH" sz="2000" b="1" dirty="0">
                <a:solidFill>
                  <a:schemeClr val="accent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US" sz="2000" b="1" dirty="0" smtClean="0">
                <a:solidFill>
                  <a:schemeClr val="accent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lang="th-TH" sz="2000" b="1" dirty="0" smtClean="0">
                  <a:solidFill>
                    <a:schemeClr val="accent5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บุคลากร</a:t>
              </a:r>
              <a:endParaRPr kumimoji="0" lang="th-TH" sz="2000" b="1" i="0" u="none" strike="noStrike" cap="none" spc="0" normalizeH="0" baseline="0" dirty="0" smtClean="0">
                <a:ln>
                  <a:noFill/>
                </a:ln>
                <a:solidFill>
                  <a:schemeClr val="accent5"/>
                </a:solidFill>
                <a:effectLst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762000" y="990600"/>
              <a:ext cx="8189235" cy="1447800"/>
            </a:xfrm>
            <a:prstGeom prst="rect">
              <a:avLst/>
            </a:prstGeom>
            <a:noFill/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762000" y="2514600"/>
              <a:ext cx="8189235" cy="914400"/>
            </a:xfrm>
            <a:prstGeom prst="rect">
              <a:avLst/>
            </a:prstGeom>
            <a:noFill/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762000" y="3505200"/>
              <a:ext cx="8189235" cy="1066800"/>
            </a:xfrm>
            <a:prstGeom prst="rect">
              <a:avLst/>
            </a:prstGeom>
            <a:noFill/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762000" y="4648200"/>
              <a:ext cx="8189235" cy="914400"/>
            </a:xfrm>
            <a:prstGeom prst="rect">
              <a:avLst/>
            </a:prstGeom>
            <a:noFill/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762000" y="5638800"/>
              <a:ext cx="8189235" cy="914400"/>
            </a:xfrm>
            <a:prstGeom prst="rect">
              <a:avLst/>
            </a:prstGeom>
            <a:noFill/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82312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ตัวแทนหมายเลขสไลด์ 1"/>
          <p:cNvSpPr>
            <a:spLocks noGrp="1"/>
          </p:cNvSpPr>
          <p:nvPr>
            <p:ph type="sldNum" sz="quarter" idx="12"/>
          </p:nvPr>
        </p:nvSpPr>
        <p:spPr>
          <a:xfrm>
            <a:off x="6948264" y="6448251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2</a:t>
            </a:r>
          </a:p>
        </p:txBody>
      </p:sp>
      <p:sp>
        <p:nvSpPr>
          <p:cNvPr id="8" name="Title 369"/>
          <p:cNvSpPr>
            <a:spLocks noGrp="1"/>
          </p:cNvSpPr>
          <p:nvPr>
            <p:ph type="title"/>
          </p:nvPr>
        </p:nvSpPr>
        <p:spPr>
          <a:xfrm>
            <a:off x="120068" y="49893"/>
            <a:ext cx="6588224" cy="511220"/>
          </a:xfrm>
          <a:noFill/>
          <a:ln>
            <a:noFill/>
          </a:ln>
        </p:spPr>
        <p:txBody>
          <a:bodyPr anchor="ctr"/>
          <a:lstStyle/>
          <a:p>
            <a:r>
              <a:rPr lang="th-TH" sz="2000" b="1" dirty="0">
                <a:solidFill>
                  <a:schemeClr val="tx1"/>
                </a:solidFill>
              </a:rPr>
              <a:t> </a:t>
            </a:r>
            <a:r>
              <a:rPr lang="th-TH" sz="2000" dirty="0">
                <a:solidFill>
                  <a:schemeClr val="tx1"/>
                </a:solidFill>
              </a:rPr>
              <a:t>ประเด็นนโยบายสำคัญ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762000" y="722825"/>
            <a:ext cx="8189235" cy="1258375"/>
            <a:chOff x="762000" y="990600"/>
            <a:chExt cx="8189235" cy="1670470"/>
          </a:xfrm>
        </p:grpSpPr>
        <p:sp>
          <p:nvSpPr>
            <p:cNvPr id="3" name="TextBox 2"/>
            <p:cNvSpPr txBox="1"/>
            <p:nvPr/>
          </p:nvSpPr>
          <p:spPr>
            <a:xfrm>
              <a:off x="2449286" y="1106798"/>
              <a:ext cx="6480178" cy="155427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indent="-342900">
                <a:spcBef>
                  <a:spcPts val="600"/>
                </a:spcBef>
                <a:buFont typeface="+mj-lt"/>
                <a:buAutoNum type="arabicPeriod"/>
              </a:pPr>
              <a:r>
                <a:rPr lang="th-TH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ารขับเคลื่อน </a:t>
              </a:r>
              <a:r>
                <a:rPr lang="en-US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DP 2018</a:t>
              </a:r>
            </a:p>
            <a:p>
              <a:pPr marL="342900" indent="-342900">
                <a:spcBef>
                  <a:spcPts val="600"/>
                </a:spcBef>
                <a:buFont typeface="+mj-lt"/>
                <a:buAutoNum type="arabicPeriod"/>
              </a:pPr>
              <a:r>
                <a:rPr lang="th-TH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โซลา</a:t>
              </a:r>
              <a:r>
                <a:rPr lang="th-TH" sz="1600" dirty="0" err="1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ร์</a:t>
              </a:r>
              <a:r>
                <a:rPr lang="th-TH" sz="16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ประชาชน</a:t>
              </a:r>
            </a:p>
            <a:p>
              <a:pPr marL="342900" indent="-342900">
                <a:spcBef>
                  <a:spcPts val="600"/>
                </a:spcBef>
                <a:buFont typeface="+mj-lt"/>
                <a:buAutoNum type="arabicPeriod"/>
              </a:pPr>
              <a:r>
                <a:rPr lang="th-TH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นโยบาย</a:t>
              </a:r>
              <a:r>
                <a:rPr lang="th-TH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ราคาพลังงาน</a:t>
              </a:r>
            </a:p>
            <a:p>
              <a:pPr marL="342900" indent="-342900">
                <a:spcBef>
                  <a:spcPts val="600"/>
                </a:spcBef>
                <a:buFont typeface="+mj-lt"/>
                <a:buAutoNum type="arabicPeriod"/>
              </a:pPr>
              <a:endParaRPr lang="th-TH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143000" y="1483826"/>
              <a:ext cx="773608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th-TH" sz="2000" b="1" i="0" u="none" strike="noStrike" cap="none" spc="0" normalizeH="0" baseline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ไฟฟ้า</a:t>
              </a:r>
              <a:endParaRPr kumimoji="0" lang="en-US" sz="2000" b="1" i="0" u="none" strike="noStrike" cap="none" spc="0" normalizeH="0" baseline="0" dirty="0" smtClean="0">
                <a:ln>
                  <a:noFill/>
                </a:ln>
                <a:solidFill>
                  <a:schemeClr val="accent5"/>
                </a:solidFill>
                <a:effectLst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762000" y="990600"/>
              <a:ext cx="8189235" cy="1447800"/>
            </a:xfrm>
            <a:prstGeom prst="rect">
              <a:avLst/>
            </a:prstGeom>
            <a:noFill/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pic>
        <p:nvPicPr>
          <p:cNvPr id="5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400" y="4569517"/>
            <a:ext cx="2325364" cy="22884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2" name="Rectangle 25"/>
          <p:cNvSpPr/>
          <p:nvPr/>
        </p:nvSpPr>
        <p:spPr>
          <a:xfrm>
            <a:off x="130701" y="1996228"/>
            <a:ext cx="3352800" cy="518372"/>
          </a:xfrm>
          <a:prstGeom prst="rect">
            <a:avLst/>
          </a:prstGeom>
          <a:noFill/>
          <a:effectLst/>
        </p:spPr>
        <p:txBody>
          <a:bodyPr wrap="square" anchor="ctr">
            <a:noAutofit/>
          </a:bodyPr>
          <a:lstStyle/>
          <a:p>
            <a:pPr marL="3175">
              <a:defRPr/>
            </a:pPr>
            <a:r>
              <a:rPr lang="th-TH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ปี 25</a:t>
            </a:r>
            <a:r>
              <a:rPr lang="en-US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  <a:r>
              <a:rPr lang="th-TH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0</a:t>
            </a:r>
            <a:r>
              <a:rPr lang="en-US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th-TH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46,090 </a:t>
            </a:r>
            <a:r>
              <a:rPr lang="en-US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W) </a:t>
            </a:r>
            <a:r>
              <a:rPr lang="en-US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Wingdings" panose="05000000000000000000" pitchFamily="2" charset="2"/>
              </a:rPr>
              <a:t></a:t>
            </a:r>
            <a:r>
              <a:rPr lang="en-US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th-TH" sz="1200" kern="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ปี 2580</a:t>
            </a:r>
            <a:r>
              <a:rPr lang="en-US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kern="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th-TH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77,21</a:t>
            </a:r>
            <a:r>
              <a:rPr lang="en-US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 MW</a:t>
            </a:r>
            <a:r>
              <a:rPr lang="en-US" sz="1200" kern="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966" y="2248573"/>
            <a:ext cx="2819834" cy="2445558"/>
          </a:xfrm>
          <a:prstGeom prst="rect">
            <a:avLst/>
          </a:prstGeom>
        </p:spPr>
      </p:pic>
      <p:pic>
        <p:nvPicPr>
          <p:cNvPr id="5" name="Picture 4" descr="Screen Clippi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0072" y="3155952"/>
            <a:ext cx="5806663" cy="3168648"/>
          </a:xfrm>
          <a:prstGeom prst="rect">
            <a:avLst/>
          </a:prstGeom>
        </p:spPr>
      </p:pic>
      <p:sp>
        <p:nvSpPr>
          <p:cNvPr id="78" name="Rectangle 25"/>
          <p:cNvSpPr/>
          <p:nvPr/>
        </p:nvSpPr>
        <p:spPr>
          <a:xfrm>
            <a:off x="3382348" y="2362200"/>
            <a:ext cx="5749247" cy="518372"/>
          </a:xfrm>
          <a:prstGeom prst="rect">
            <a:avLst/>
          </a:prstGeom>
          <a:noFill/>
          <a:effectLst/>
        </p:spPr>
        <p:txBody>
          <a:bodyPr wrap="square" anchor="ctr">
            <a:noAutofit/>
          </a:bodyPr>
          <a:lstStyle/>
          <a:p>
            <a:pPr marL="174625" indent="-171450">
              <a:buFont typeface="Arial" panose="020B0604020202020204" pitchFamily="34" charset="0"/>
              <a:buChar char="•"/>
              <a:defRPr/>
            </a:pPr>
            <a:r>
              <a:rPr lang="th-TH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โครงการผลิตไฟฟ้าจากพลังงานแสงอาทิตย์ที่ติดตั้งบนหลังคาสำหรับภาคประชาชนประเภทบ้านที่อยู่อาศัย พ.ศ. 2562 </a:t>
            </a:r>
          </a:p>
          <a:p>
            <a:pPr marL="174625" indent="-171450">
              <a:buFont typeface="Arial" panose="020B0604020202020204" pitchFamily="34" charset="0"/>
              <a:buChar char="•"/>
              <a:defRPr/>
            </a:pPr>
            <a:r>
              <a:rPr lang="th-TH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เปิดรับเป็นเวลา 10 ปี ต่อเนื่อง ปีละ 100 </a:t>
            </a:r>
            <a:r>
              <a:rPr lang="en-US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W</a:t>
            </a:r>
            <a:endParaRPr lang="th-TH" sz="12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4625" indent="-171450">
              <a:buFont typeface="Arial" panose="020B0604020202020204" pitchFamily="34" charset="0"/>
              <a:buChar char="•"/>
              <a:defRPr/>
            </a:pPr>
            <a:r>
              <a:rPr lang="th-TH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ถานะ ณ 7 มิ.ย. 62 มีผู้สมัคร กฟน. 1</a:t>
            </a:r>
            <a:r>
              <a:rPr lang="en-US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</a:t>
            </a:r>
            <a:r>
              <a:rPr lang="th-TH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18 </a:t>
            </a:r>
            <a:r>
              <a:rPr lang="en-US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W</a:t>
            </a:r>
            <a:r>
              <a:rPr lang="th-TH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th-TH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50</a:t>
            </a:r>
            <a:r>
              <a:rPr lang="en-US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th-TH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ราย</a:t>
            </a:r>
            <a:r>
              <a:rPr lang="en-US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r>
              <a:rPr lang="en-US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th-TH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และ กฟภ. 5,645 </a:t>
            </a:r>
            <a:r>
              <a:rPr lang="en-US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W (1</a:t>
            </a:r>
            <a:r>
              <a:rPr lang="th-TH" sz="12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</a:t>
            </a:r>
            <a:r>
              <a:rPr lang="en-US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29 </a:t>
            </a:r>
            <a:r>
              <a:rPr lang="th-TH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ราย</a:t>
            </a:r>
            <a:r>
              <a:rPr lang="en-US" sz="12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th-TH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238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ตัวแทนหมายเลขสไลด์ 1"/>
          <p:cNvSpPr>
            <a:spLocks noGrp="1"/>
          </p:cNvSpPr>
          <p:nvPr>
            <p:ph type="sldNum" sz="quarter" idx="12"/>
          </p:nvPr>
        </p:nvSpPr>
        <p:spPr>
          <a:xfrm>
            <a:off x="6948264" y="6448251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2</a:t>
            </a:r>
          </a:p>
        </p:txBody>
      </p:sp>
      <p:sp>
        <p:nvSpPr>
          <p:cNvPr id="8" name="Title 369"/>
          <p:cNvSpPr>
            <a:spLocks noGrp="1"/>
          </p:cNvSpPr>
          <p:nvPr>
            <p:ph type="title"/>
          </p:nvPr>
        </p:nvSpPr>
        <p:spPr>
          <a:xfrm>
            <a:off x="120068" y="49893"/>
            <a:ext cx="6588224" cy="511220"/>
          </a:xfrm>
          <a:noFill/>
          <a:ln>
            <a:noFill/>
          </a:ln>
        </p:spPr>
        <p:txBody>
          <a:bodyPr anchor="ctr"/>
          <a:lstStyle/>
          <a:p>
            <a:r>
              <a:rPr lang="th-TH" sz="2000" b="1" dirty="0">
                <a:solidFill>
                  <a:schemeClr val="tx1"/>
                </a:solidFill>
              </a:rPr>
              <a:t> </a:t>
            </a:r>
            <a:r>
              <a:rPr lang="th-TH" sz="2000" dirty="0">
                <a:solidFill>
                  <a:schemeClr val="tx1"/>
                </a:solidFill>
              </a:rPr>
              <a:t>ประเด็นนโยบายสำคัญ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762000" y="722825"/>
            <a:ext cx="8189235" cy="1001528"/>
            <a:chOff x="762000" y="990600"/>
            <a:chExt cx="8189235" cy="1447800"/>
          </a:xfrm>
        </p:grpSpPr>
        <p:sp>
          <p:nvSpPr>
            <p:cNvPr id="3" name="TextBox 2"/>
            <p:cNvSpPr txBox="1"/>
            <p:nvPr/>
          </p:nvSpPr>
          <p:spPr>
            <a:xfrm>
              <a:off x="2449286" y="1268849"/>
              <a:ext cx="6480178" cy="9565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th-TH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4. การบริหารจัดการแหล่งบงกชและเอราวัณให้ต่อเนื่อง</a:t>
              </a:r>
              <a:r>
                <a:rPr lang="en-US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endParaRPr lang="th-TH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>
                <a:spcBef>
                  <a:spcPts val="600"/>
                </a:spcBef>
              </a:pPr>
              <a:r>
                <a:rPr lang="th-TH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5. การเปิดเสรีก๊าซธรรมชาติ </a:t>
              </a:r>
              <a:r>
                <a:rPr lang="en-US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: </a:t>
              </a:r>
              <a:r>
                <a:rPr lang="th-TH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ทดลองการนำเข้า </a:t>
              </a:r>
              <a:r>
                <a:rPr lang="en-US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LNG </a:t>
              </a:r>
              <a:r>
                <a:rPr lang="th-TH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ของ กฟผ.</a:t>
              </a:r>
              <a:endPara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066800" y="1422739"/>
              <a:ext cx="600483" cy="1015660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th-TH" sz="2000" b="1" i="0" u="none" strike="noStrike" cap="none" spc="0" normalizeH="0" baseline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ก๊าซ</a:t>
              </a:r>
            </a:p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th-TH" sz="2000" b="1" dirty="0">
                <a:solidFill>
                  <a:schemeClr val="accent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th-TH" sz="2000" b="1" dirty="0">
                <a:solidFill>
                  <a:schemeClr val="accent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762000" y="990600"/>
              <a:ext cx="8189235" cy="1447800"/>
            </a:xfrm>
            <a:prstGeom prst="rect">
              <a:avLst/>
            </a:prstGeom>
            <a:noFill/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2" name="Rectangle 1"/>
          <p:cNvSpPr/>
          <p:nvPr/>
        </p:nvSpPr>
        <p:spPr>
          <a:xfrm>
            <a:off x="264533" y="2012402"/>
            <a:ext cx="5486400" cy="4616648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285750" indent="-2857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th-TH" altLang="en-US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แหล่งก๊าซธรรมชาติกลุ่มเอราวัณ </a:t>
            </a:r>
            <a:r>
              <a:rPr lang="th-TH" altLang="en-US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ได้รับ</a:t>
            </a:r>
            <a:r>
              <a:rPr lang="th-TH" altLang="en-US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ัมปทาน มี.ค. </a:t>
            </a:r>
            <a:r>
              <a:rPr lang="en-US" altLang="en-US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515</a:t>
            </a:r>
            <a:r>
              <a:rPr lang="th-TH" altLang="en-US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altLang="en-US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altLang="en-US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th-TH" altLang="en-US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จะ</a:t>
            </a:r>
            <a:r>
              <a:rPr lang="th-TH" altLang="en-US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ิ้นอายุสัมปทานในปี </a:t>
            </a:r>
            <a:r>
              <a:rPr lang="th-TH" altLang="en-US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565 / </a:t>
            </a:r>
            <a:r>
              <a:rPr lang="th-TH" altLang="en-US" sz="14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แหล่ง</a:t>
            </a:r>
            <a:r>
              <a:rPr lang="th-TH" altLang="en-US" sz="14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๊าซธรรมชาติกลุ่มบงกช </a:t>
            </a:r>
            <a:r>
              <a:rPr lang="th-TH" altLang="en-US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ได้รับ</a:t>
            </a:r>
            <a:r>
              <a:rPr lang="th-TH" altLang="en-US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ัมปทาน มี.ค. </a:t>
            </a:r>
            <a:r>
              <a:rPr lang="en-US" altLang="en-US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515</a:t>
            </a:r>
            <a:r>
              <a:rPr lang="th-TH" altLang="en-US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th-TH" altLang="en-US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จะ</a:t>
            </a:r>
            <a:r>
              <a:rPr lang="th-TH" altLang="en-US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ิ้นอายุสัมปทานในปี 2565 และ </a:t>
            </a:r>
            <a:r>
              <a:rPr lang="th-TH" altLang="en-US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566</a:t>
            </a:r>
            <a:br>
              <a:rPr lang="th-TH" altLang="en-US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th-TH" altLang="en-US" sz="14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ได้ลงนามในสัมปทานใหม่แล้ว 25 ก.พ. 62</a:t>
            </a:r>
            <a:endParaRPr lang="en-US" altLang="en-US" sz="1400" b="1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6700" indent="-266700">
              <a:buClr>
                <a:schemeClr val="accent5">
                  <a:lumMod val="75000"/>
                </a:schemeClr>
              </a:buClr>
              <a:buFont typeface="Wingdings" pitchFamily="2" charset="2"/>
              <a:buChar char="§"/>
            </a:pPr>
            <a:r>
              <a:rPr lang="th-TH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แหล่งก๊าซสิน</a:t>
            </a:r>
            <a:r>
              <a:rPr lang="th-TH" sz="1400" b="1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ภูฮ่</a:t>
            </a:r>
            <a:r>
              <a:rPr lang="th-TH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อม</a:t>
            </a:r>
            <a:r>
              <a:rPr lang="th-TH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ประกอบด้วย 2 แปลงสำรวจ </a:t>
            </a:r>
            <a:r>
              <a:rPr 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ิ้นอายุ </a:t>
            </a:r>
            <a:r>
              <a:rPr lang="th-TH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562 และ 2564 ครม. มีมติเมื่อ 7 พ.ค. 2562 ให้ต่อระยะเวลาผลิตเป็นเวลา 10 </a:t>
            </a:r>
            <a:r>
              <a:rPr 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ปี</a:t>
            </a:r>
          </a:p>
          <a:p>
            <a:pPr marL="266700" indent="-266700">
              <a:buClr>
                <a:schemeClr val="accent5">
                  <a:lumMod val="75000"/>
                </a:schemeClr>
              </a:buClr>
              <a:buFont typeface="Wingdings" pitchFamily="2" charset="2"/>
              <a:buChar char="§"/>
            </a:pPr>
            <a:endParaRPr lang="th-TH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6700" indent="-266700">
              <a:buClr>
                <a:schemeClr val="accent5">
                  <a:lumMod val="75000"/>
                </a:schemeClr>
              </a:buClr>
              <a:buFont typeface="Wingdings" pitchFamily="2" charset="2"/>
              <a:buChar char="§"/>
            </a:pPr>
            <a:endParaRPr lang="th-TH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6700" indent="-266700">
              <a:buClr>
                <a:schemeClr val="accent5">
                  <a:lumMod val="75000"/>
                </a:schemeClr>
              </a:buClr>
              <a:buFont typeface="Wingdings" pitchFamily="2" charset="2"/>
              <a:buChar char="§"/>
            </a:pPr>
            <a:endParaRPr lang="th-TH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6700" indent="-266700">
              <a:buClr>
                <a:schemeClr val="accent5">
                  <a:lumMod val="75000"/>
                </a:schemeClr>
              </a:buClr>
              <a:buFont typeface="Wingdings" pitchFamily="2" charset="2"/>
              <a:buChar char="§"/>
            </a:pPr>
            <a:endParaRPr lang="th-TH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6700" indent="-266700">
              <a:buClr>
                <a:schemeClr val="accent5">
                  <a:lumMod val="75000"/>
                </a:schemeClr>
              </a:buClr>
              <a:buFont typeface="Wingdings" pitchFamily="2" charset="2"/>
              <a:buChar char="§"/>
            </a:pPr>
            <a:endParaRPr lang="th-TH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6700" indent="-266700">
              <a:buClr>
                <a:schemeClr val="accent5">
                  <a:lumMod val="75000"/>
                </a:schemeClr>
              </a:buClr>
              <a:buFont typeface="Wingdings" pitchFamily="2" charset="2"/>
              <a:buChar char="§"/>
            </a:pPr>
            <a:endParaRPr lang="th-TH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6700" indent="-266700">
              <a:buClr>
                <a:schemeClr val="accent5">
                  <a:lumMod val="75000"/>
                </a:schemeClr>
              </a:buClr>
              <a:buFont typeface="Wingdings" pitchFamily="2" charset="2"/>
              <a:buChar char="§"/>
            </a:pPr>
            <a:endParaRPr lang="th-TH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6700" indent="-266700">
              <a:buClr>
                <a:schemeClr val="accent5">
                  <a:lumMod val="75000"/>
                </a:schemeClr>
              </a:buClr>
              <a:buFont typeface="Wingdings" pitchFamily="2" charset="2"/>
              <a:buChar char="§"/>
            </a:pPr>
            <a:endParaRPr lang="th-TH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6700" indent="-266700">
              <a:buClr>
                <a:schemeClr val="accent5">
                  <a:lumMod val="75000"/>
                </a:schemeClr>
              </a:buClr>
              <a:buFont typeface="Wingdings" pitchFamily="2" charset="2"/>
              <a:buChar char="§"/>
            </a:pPr>
            <a:endParaRPr lang="th-TH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6700" indent="-266700">
              <a:buClr>
                <a:schemeClr val="accent5">
                  <a:lumMod val="75000"/>
                </a:schemeClr>
              </a:buClr>
              <a:buFont typeface="Wingdings" pitchFamily="2" charset="2"/>
              <a:buChar char="§"/>
            </a:pPr>
            <a:endParaRPr lang="th-TH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6700" indent="-266700">
              <a:buClr>
                <a:schemeClr val="accent5">
                  <a:lumMod val="75000"/>
                </a:schemeClr>
              </a:buClr>
              <a:buFont typeface="Wingdings" pitchFamily="2" charset="2"/>
              <a:buChar char="§"/>
            </a:pPr>
            <a:endParaRPr lang="th-TH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6700" indent="-266700">
              <a:buClr>
                <a:schemeClr val="accent5">
                  <a:lumMod val="75000"/>
                </a:schemeClr>
              </a:buClr>
              <a:buFont typeface="Wingdings" pitchFamily="2" charset="2"/>
              <a:buChar char="§"/>
            </a:pPr>
            <a:endParaRPr lang="th-TH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66700" indent="-266700">
              <a:buClr>
                <a:schemeClr val="accent5">
                  <a:lumMod val="75000"/>
                </a:schemeClr>
              </a:buClr>
              <a:buFont typeface="Wingdings" pitchFamily="2" charset="2"/>
              <a:buChar char="§"/>
            </a:pPr>
            <a:endParaRPr lang="th-TH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buClr>
                <a:schemeClr val="accent5">
                  <a:lumMod val="75000"/>
                </a:schemeClr>
              </a:buClr>
            </a:pPr>
            <a:r>
              <a:rPr 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th-TH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4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1000" y="3523297"/>
            <a:ext cx="5253466" cy="2971800"/>
          </a:xfrm>
          <a:prstGeom prst="rect">
            <a:avLst/>
          </a:prstGeom>
        </p:spPr>
      </p:pic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82961897"/>
              </p:ext>
            </p:extLst>
          </p:nvPr>
        </p:nvGraphicFramePr>
        <p:xfrm>
          <a:off x="5867400" y="1990994"/>
          <a:ext cx="3021312" cy="454152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30213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294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Unicode MS"/>
                          <a:ea typeface="Arial Unicode MS"/>
                          <a:cs typeface="Arial Unicode MS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Unicode MS"/>
                          <a:ea typeface="Arial Unicode MS"/>
                          <a:cs typeface="Arial Unicode MS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Unicode MS"/>
                          <a:ea typeface="Arial Unicode MS"/>
                          <a:cs typeface="Arial Unicode MS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Unicode MS"/>
                          <a:ea typeface="Arial Unicode MS"/>
                          <a:cs typeface="Arial Unicode MS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Unicode MS"/>
                          <a:ea typeface="Arial Unicode MS"/>
                          <a:cs typeface="Arial Unicode MS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Unicode MS"/>
                          <a:ea typeface="Arial Unicode MS"/>
                          <a:cs typeface="Arial Unicode MS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Unicode MS"/>
                          <a:ea typeface="Arial Unicode MS"/>
                          <a:cs typeface="Arial Unicode MS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Unicode MS"/>
                          <a:ea typeface="Arial Unicode MS"/>
                          <a:cs typeface="Arial Unicode MS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 Unicode MS"/>
                          <a:ea typeface="Arial Unicode MS"/>
                          <a:cs typeface="Arial Unicode MS"/>
                        </a:defRPr>
                      </a:lvl9pPr>
                    </a:lstStyle>
                    <a:p>
                      <a:pPr algn="ctr"/>
                      <a:r>
                        <a:rPr lang="th-TH" sz="1400" dirty="0" smtClean="0">
                          <a:solidFill>
                            <a:schemeClr val="tx1"/>
                          </a:solidFill>
                        </a:rPr>
                        <a:t>การเปิดเสรีกิจการก๊าซธรรมชาติ</a:t>
                      </a:r>
                    </a:p>
                    <a:p>
                      <a:pPr algn="ctr"/>
                      <a:r>
                        <a:rPr lang="th-TH" sz="1400" dirty="0" smtClean="0">
                          <a:solidFill>
                            <a:schemeClr val="tx1"/>
                          </a:solidFill>
                        </a:rPr>
                        <a:t>ระยะดำเนินการโครงการนำร่อง</a:t>
                      </a: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130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Unicode MS"/>
                          <a:ea typeface="Arial Unicode MS"/>
                          <a:cs typeface="Arial Unicode M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Unicode MS"/>
                          <a:ea typeface="Arial Unicode MS"/>
                          <a:cs typeface="Arial Unicode M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Unicode MS"/>
                          <a:ea typeface="Arial Unicode MS"/>
                          <a:cs typeface="Arial Unicode M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Unicode MS"/>
                          <a:ea typeface="Arial Unicode MS"/>
                          <a:cs typeface="Arial Unicode M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Unicode MS"/>
                          <a:ea typeface="Arial Unicode MS"/>
                          <a:cs typeface="Arial Unicode M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Unicode MS"/>
                          <a:ea typeface="Arial Unicode MS"/>
                          <a:cs typeface="Arial Unicode M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Unicode MS"/>
                          <a:ea typeface="Arial Unicode MS"/>
                          <a:cs typeface="Arial Unicode M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Unicode MS"/>
                          <a:ea typeface="Arial Unicode MS"/>
                          <a:cs typeface="Arial Unicode M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 Unicode MS"/>
                          <a:ea typeface="Arial Unicode MS"/>
                          <a:cs typeface="Arial Unicode MS"/>
                        </a:defRPr>
                      </a:lvl9pPr>
                    </a:lstStyle>
                    <a:p>
                      <a:pPr marL="285750" indent="-285750">
                        <a:lnSpc>
                          <a:spcPct val="100000"/>
                        </a:lnSpc>
                        <a:buFont typeface="Arial" pitchFamily="34" charset="0"/>
                        <a:buChar char="•"/>
                        <a:tabLst>
                          <a:tab pos="263525" algn="l"/>
                          <a:tab pos="536575" algn="l"/>
                        </a:tabLst>
                      </a:pPr>
                      <a:r>
                        <a:rPr lang="th-TH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ดำเนินการระยะที่ 1 (นำร่อง) ตามมติ กพช. 31 ก.ค.60 เพื่อ</a:t>
                      </a:r>
                    </a:p>
                    <a:p>
                      <a:pPr marL="531813" indent="-176213">
                        <a:lnSpc>
                          <a:spcPct val="100000"/>
                        </a:lnSpc>
                        <a:buFont typeface="Courier New" pitchFamily="49" charset="0"/>
                        <a:buChar char="o"/>
                        <a:tabLst/>
                      </a:pPr>
                      <a:r>
                        <a:rPr lang="th-TH" sz="1400" b="1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ทดลองทำเข้า </a:t>
                      </a:r>
                      <a:r>
                        <a:rPr lang="en-US" sz="1400" b="1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LNG </a:t>
                      </a:r>
                      <a:r>
                        <a:rPr lang="th-TH" sz="1400" b="1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ไม่เกิน 1.5 </a:t>
                      </a:r>
                      <a:r>
                        <a:rPr lang="en-US" sz="1400" b="1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TPA </a:t>
                      </a:r>
                      <a:r>
                        <a:rPr lang="th-TH" sz="1400" b="1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โดย กฟผ.</a:t>
                      </a:r>
                    </a:p>
                    <a:p>
                      <a:pPr marL="531813" indent="-176213">
                        <a:lnSpc>
                          <a:spcPct val="100000"/>
                        </a:lnSpc>
                        <a:buFont typeface="Courier New" pitchFamily="49" charset="0"/>
                        <a:buChar char="o"/>
                        <a:tabLst/>
                      </a:pPr>
                      <a:r>
                        <a:rPr lang="th-TH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ทดสอบ </a:t>
                      </a:r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PA Code</a:t>
                      </a:r>
                      <a:endParaRPr lang="th-TH" sz="140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531813" indent="-176213">
                        <a:lnSpc>
                          <a:spcPct val="100000"/>
                        </a:lnSpc>
                        <a:buFont typeface="Courier New" pitchFamily="49" charset="0"/>
                        <a:buChar char="o"/>
                        <a:tabLst/>
                      </a:pPr>
                      <a:r>
                        <a:rPr lang="th-TH" sz="1400" spc="-3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ทดสอบการปฏิบัติจริงในการปรับปรุงคุณภาพ การสร้างสมดุลระบบ/การ </a:t>
                      </a:r>
                      <a:r>
                        <a:rPr lang="en-US" sz="1400" spc="-30" baseline="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learing  </a:t>
                      </a:r>
                    </a:p>
                    <a:p>
                      <a:pPr marL="531813" indent="-176213">
                        <a:lnSpc>
                          <a:spcPct val="100000"/>
                        </a:lnSpc>
                        <a:buFont typeface="Courier New" pitchFamily="49" charset="0"/>
                        <a:buChar char="o"/>
                        <a:tabLst/>
                      </a:pPr>
                      <a:r>
                        <a:rPr lang="th-TH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ทดสอบการกำกับดูแล/ แยก </a:t>
                      </a:r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SO </a:t>
                      </a:r>
                      <a:r>
                        <a:rPr lang="th-TH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ทำหน้าที่ชัดเจน</a:t>
                      </a:r>
                      <a:endParaRPr lang="en-US" sz="140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285750" marR="0" indent="-285750" algn="l" defTabSz="91363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>
                          <a:tab pos="263525" algn="l"/>
                        </a:tabLst>
                        <a:defRPr/>
                      </a:pPr>
                      <a:r>
                        <a:rPr lang="th-TH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8 ก.ค. 61 กบง. รับทราบหลักเกณฑ์เพื่อกำหนดสัญญาซื้อและขายก๊าซธรรมชาติเก่า/ใหม่ (</a:t>
                      </a:r>
                      <a:r>
                        <a:rPr lang="en-US" sz="14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Old/New Supply and Demand)</a:t>
                      </a:r>
                    </a:p>
                    <a:p>
                      <a:pPr marL="285750" marR="0" indent="-285750" algn="l" defTabSz="91363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>
                          <a:tab pos="263525" algn="l"/>
                        </a:tabLst>
                        <a:defRPr/>
                      </a:pPr>
                      <a:endParaRPr lang="th-TH" sz="140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285750" marR="0" indent="-285750" algn="l" defTabSz="91363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>
                          <a:tab pos="263525" algn="l"/>
                        </a:tabLst>
                        <a:defRPr/>
                      </a:pPr>
                      <a:endParaRPr lang="th-TH" sz="140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285750" marR="0" indent="-285750" algn="l" defTabSz="91363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>
                          <a:tab pos="263525" algn="l"/>
                        </a:tabLst>
                        <a:defRPr/>
                      </a:pPr>
                      <a:endParaRPr lang="en-US" sz="1400" dirty="0" smtClean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65231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ตัวแทนหมายเลขสไลด์ 1"/>
          <p:cNvSpPr>
            <a:spLocks noGrp="1"/>
          </p:cNvSpPr>
          <p:nvPr>
            <p:ph type="sldNum" sz="quarter" idx="12"/>
          </p:nvPr>
        </p:nvSpPr>
        <p:spPr>
          <a:xfrm>
            <a:off x="6948264" y="6448251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2</a:t>
            </a:r>
          </a:p>
        </p:txBody>
      </p:sp>
      <p:sp>
        <p:nvSpPr>
          <p:cNvPr id="8" name="Title 369"/>
          <p:cNvSpPr>
            <a:spLocks noGrp="1"/>
          </p:cNvSpPr>
          <p:nvPr>
            <p:ph type="title"/>
          </p:nvPr>
        </p:nvSpPr>
        <p:spPr>
          <a:xfrm>
            <a:off x="120068" y="49893"/>
            <a:ext cx="6588224" cy="511220"/>
          </a:xfrm>
          <a:noFill/>
          <a:ln>
            <a:noFill/>
          </a:ln>
        </p:spPr>
        <p:txBody>
          <a:bodyPr anchor="ctr"/>
          <a:lstStyle/>
          <a:p>
            <a:r>
              <a:rPr lang="th-TH" sz="2000" b="1" dirty="0">
                <a:solidFill>
                  <a:schemeClr val="tx1"/>
                </a:solidFill>
              </a:rPr>
              <a:t> </a:t>
            </a:r>
            <a:r>
              <a:rPr lang="th-TH" sz="2000" dirty="0">
                <a:solidFill>
                  <a:schemeClr val="tx1"/>
                </a:solidFill>
              </a:rPr>
              <a:t>ประเด็นนโยบายสำคัญ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762000" y="722825"/>
            <a:ext cx="8189235" cy="1430937"/>
            <a:chOff x="762000" y="990600"/>
            <a:chExt cx="8189235" cy="1664206"/>
          </a:xfrm>
        </p:grpSpPr>
        <p:sp>
          <p:nvSpPr>
            <p:cNvPr id="3" name="TextBox 2"/>
            <p:cNvSpPr txBox="1"/>
            <p:nvPr/>
          </p:nvSpPr>
          <p:spPr>
            <a:xfrm>
              <a:off x="2471057" y="1223007"/>
              <a:ext cx="6480178" cy="14317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th-TH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6. การ</a:t>
              </a:r>
              <a:r>
                <a:rPr lang="th-TH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ส่งเสริมการใช้น้ำมันไบโอดีเซล</a:t>
              </a:r>
              <a:r>
                <a:rPr lang="en-US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B10 </a:t>
              </a:r>
              <a:r>
                <a:rPr lang="th-TH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en-US" sz="1600" dirty="0" smtClean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B20</a:t>
              </a:r>
              <a:endPara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>
                <a:spcBef>
                  <a:spcPts val="600"/>
                </a:spcBef>
              </a:pPr>
              <a:r>
                <a:rPr lang="th-TH" sz="16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7. การ</a:t>
              </a:r>
              <a:r>
                <a:rPr lang="th-TH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ปรับคุณภาพน้ำมันให้เป็น</a:t>
              </a:r>
              <a:r>
                <a:rPr lang="id-ID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EURO</a:t>
              </a:r>
              <a:r>
                <a:rPr lang="th-TH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lang="id-ID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5</a:t>
              </a:r>
              <a:endParaRPr lang="en-US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>
                <a:spcBef>
                  <a:spcPts val="600"/>
                </a:spcBef>
              </a:pPr>
              <a:r>
                <a:rPr lang="th-TH" sz="16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8. การ</a:t>
              </a:r>
              <a:r>
                <a:rPr lang="th-TH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บริหารกองทุนน้ำมันเชื้อเพลิง</a:t>
              </a:r>
              <a:endParaRPr lang="en-US" sz="16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342900" indent="-342900">
                <a:buFont typeface="+mj-lt"/>
                <a:buAutoNum type="arabicPeriod"/>
              </a:pPr>
              <a:endPara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143000" y="1422531"/>
              <a:ext cx="749562" cy="70788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th-TH" sz="2000" b="1" i="0" u="none" strike="noStrike" cap="none" spc="0" normalizeH="0" baseline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น้ำมัน</a:t>
              </a:r>
            </a:p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lang="en-US" sz="2000" b="1" dirty="0" smtClean="0">
                <a:solidFill>
                  <a:schemeClr val="accent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7" name="Rectangle 6"/>
            <p:cNvSpPr/>
            <p:nvPr/>
          </p:nvSpPr>
          <p:spPr>
            <a:xfrm>
              <a:off x="762000" y="990600"/>
              <a:ext cx="8189235" cy="1447800"/>
            </a:xfrm>
            <a:prstGeom prst="rect">
              <a:avLst/>
            </a:prstGeom>
            <a:noFill/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767159" y="2264230"/>
            <a:ext cx="4033441" cy="3970318"/>
            <a:chOff x="767159" y="2264230"/>
            <a:chExt cx="4033441" cy="3970318"/>
          </a:xfrm>
        </p:grpSpPr>
        <p:sp>
          <p:nvSpPr>
            <p:cNvPr id="2" name="Rectangle 1"/>
            <p:cNvSpPr/>
            <p:nvPr/>
          </p:nvSpPr>
          <p:spPr>
            <a:xfrm>
              <a:off x="767159" y="2264230"/>
              <a:ext cx="4033441" cy="3970318"/>
            </a:xfrm>
            <a:prstGeom prst="rect">
              <a:avLst/>
            </a:prstGeom>
            <a:ln>
              <a:solidFill>
                <a:schemeClr val="accent2"/>
              </a:solidFill>
            </a:ln>
          </p:spPr>
          <p:txBody>
            <a:bodyPr wrap="square">
              <a:spAutoFit/>
            </a:bodyPr>
            <a:lstStyle/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บง. เห็นชอบให้ผู้ค้าน้ำมันตามมาตรา 7 จำหน่ายน้ำมันดีเซลหมุนเร็ว B20 ผ่านสถานีบริการ เมื่อวันที่ </a:t>
              </a:r>
              <a:r>
                <a:rPr lang="th-TH" sz="1400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30 </a:t>
              </a:r>
              <a: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ม.ค. </a:t>
              </a:r>
              <a:r>
                <a:rPr lang="th-TH" sz="1400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562</a:t>
              </a:r>
              <a:endParaRPr lang="en-US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r>
                <a:rPr lang="th-TH" sz="1400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มีเป้าหมายการใช้ </a:t>
              </a:r>
              <a:r>
                <a:rPr lang="en-US" sz="1400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CPO 2.16 </a:t>
              </a:r>
              <a:r>
                <a:rPr lang="th-TH" sz="1400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ล้านตัน/ปี</a:t>
              </a: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endParaRPr lang="th-TH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endParaRPr lang="th-TH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endParaRPr lang="th-TH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endParaRPr lang="th-TH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endParaRPr lang="th-TH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endParaRPr lang="th-TH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endParaRPr lang="th-TH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endParaRPr lang="th-TH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endParaRPr lang="th-TH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endParaRPr lang="th-TH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endParaRPr lang="th-TH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endParaRPr lang="th-TH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endParaRPr lang="en-US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171450" lvl="0" indent="-171450">
                <a:buFont typeface="Arial" panose="020B0604020202020204" pitchFamily="34" charset="0"/>
                <a:buChar char="•"/>
              </a:pPr>
              <a:endParaRPr lang="en-US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7159" y="3500886"/>
              <a:ext cx="4033441" cy="2647568"/>
            </a:xfrm>
            <a:prstGeom prst="rect">
              <a:avLst/>
            </a:prstGeom>
          </p:spPr>
        </p:pic>
      </p:grpSp>
      <p:sp>
        <p:nvSpPr>
          <p:cNvPr id="4" name="Rectangle 3"/>
          <p:cNvSpPr/>
          <p:nvPr/>
        </p:nvSpPr>
        <p:spPr>
          <a:xfrm>
            <a:off x="5029200" y="2252270"/>
            <a:ext cx="3533576" cy="1384995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h-TH" alt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าร</a:t>
            </a:r>
            <a:r>
              <a:rPr lang="th-TH" altLang="th-TH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ำหนดมาตรฐานน้ำมัน EURO 5 ต้องเป็นนโยบายของรัฐบาลจึงจะสามารถดำเนินการ</a:t>
            </a:r>
            <a:r>
              <a:rPr lang="th-TH" alt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ได้</a:t>
            </a:r>
            <a:r>
              <a:rPr lang="en-US" alt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</a:t>
            </a:r>
            <a:r>
              <a:rPr lang="th-TH" alt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มติ</a:t>
            </a:r>
            <a:r>
              <a:rPr lang="th-TH" altLang="th-TH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คณะกรรมการสิ่งแวดล้อม</a:t>
            </a:r>
            <a:r>
              <a:rPr lang="th-TH" alt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แห่งชาติ</a:t>
            </a:r>
            <a:r>
              <a:rPr lang="en-US" alt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</a:t>
            </a:r>
            <a:endParaRPr lang="th-TH" altLang="th-TH" sz="14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h-TH" altLang="th-TH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h-TH" altLang="th-TH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029200" y="3886200"/>
            <a:ext cx="3581400" cy="2541721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285750" indent="-285750" defTabSz="913761">
              <a:lnSpc>
                <a:spcPts val="1866"/>
              </a:lnSpc>
              <a:spcBef>
                <a:spcPts val="500"/>
              </a:spcBef>
              <a:spcAft>
                <a:spcPts val="533"/>
              </a:spcAft>
              <a:buFont typeface="Arial" panose="020B0604020202020204" pitchFamily="34" charset="0"/>
              <a:buChar char="•"/>
              <a:defRPr/>
            </a:pPr>
            <a:r>
              <a:rPr lang="th-TH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พ.ร.บ. กองทุนน้ำมันเชื้อเพลิง พ.ศ. 2562 ประกาศในราชกิจจานุเบกษา โดยมีผลใช้</a:t>
            </a:r>
            <a:r>
              <a:rPr lang="th-TH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บังคับ 24 </a:t>
            </a:r>
            <a:r>
              <a:rPr lang="th-TH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.ย. </a:t>
            </a:r>
            <a:r>
              <a:rPr lang="th-TH" sz="14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2</a:t>
            </a:r>
            <a:endParaRPr lang="en-US" sz="14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defTabSz="913761">
              <a:lnSpc>
                <a:spcPts val="1866"/>
              </a:lnSpc>
              <a:spcBef>
                <a:spcPts val="500"/>
              </a:spcBef>
              <a:spcAft>
                <a:spcPts val="533"/>
              </a:spcAft>
              <a:buFont typeface="Arial" panose="020B0604020202020204" pitchFamily="34" charset="0"/>
              <a:buChar char="•"/>
              <a:defRPr/>
            </a:pPr>
            <a:r>
              <a:rPr lang="th-TH" sz="14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มีบท</a:t>
            </a:r>
            <a:r>
              <a:rPr lang="th-TH" sz="14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เฉพาะ</a:t>
            </a:r>
            <a:r>
              <a:rPr lang="th-TH" sz="14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กาลเงิน</a:t>
            </a:r>
            <a:r>
              <a:rPr lang="th-TH" sz="14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ชดเชยสำหรับน้ำมันเชื้อเพลิงที่มีส่วนผสมของเชื้อเพลิงชีวภาพอยู่ก่อน พ.ร.บ. นี้ใช้</a:t>
            </a:r>
            <a:r>
              <a:rPr lang="th-TH" sz="14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บังคับ</a:t>
            </a:r>
            <a:r>
              <a:rPr lang="en-US" sz="14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th-TH" sz="14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อีก 3 ปี</a:t>
            </a:r>
          </a:p>
          <a:p>
            <a:pPr marL="285750" indent="-285750" defTabSz="913761">
              <a:lnSpc>
                <a:spcPts val="1866"/>
              </a:lnSpc>
              <a:spcBef>
                <a:spcPts val="500"/>
              </a:spcBef>
              <a:spcAft>
                <a:spcPts val="533"/>
              </a:spcAft>
              <a:buFont typeface="Arial" panose="020B0604020202020204" pitchFamily="34" charset="0"/>
              <a:buChar char="•"/>
              <a:defRPr/>
            </a:pPr>
            <a:r>
              <a:rPr lang="th-TH" sz="1400" dirty="0" smtClean="0">
                <a:solidFill>
                  <a:prstClr val="black"/>
                </a:solidFill>
                <a:latin typeface="Tahoma"/>
                <a:cs typeface="Tahoma"/>
              </a:rPr>
              <a:t>ให้จัดทำ</a:t>
            </a:r>
            <a:r>
              <a:rPr lang="th-TH" sz="1400" dirty="0">
                <a:solidFill>
                  <a:prstClr val="black"/>
                </a:solidFill>
                <a:latin typeface="Tahoma"/>
                <a:cs typeface="Tahoma"/>
              </a:rPr>
              <a:t>แผนรองรับวิกฤตการณ์ด้านน้ำมันเชื้อเพลิง และแผนยุทธศาสตร์กองทุนน้ำมัน</a:t>
            </a:r>
            <a:r>
              <a:rPr lang="th-TH" sz="1400" dirty="0" smtClean="0">
                <a:solidFill>
                  <a:prstClr val="black"/>
                </a:solidFill>
                <a:latin typeface="Tahoma"/>
                <a:cs typeface="Tahoma"/>
              </a:rPr>
              <a:t>เชื้อเพลิง</a:t>
            </a:r>
          </a:p>
        </p:txBody>
      </p:sp>
      <p:pic>
        <p:nvPicPr>
          <p:cNvPr id="26" name="รูปภาพ 9" descr="images.jp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024745">
            <a:off x="7002917" y="2926272"/>
            <a:ext cx="1274564" cy="560207"/>
          </a:xfrm>
          <a:prstGeom prst="rect">
            <a:avLst/>
          </a:prstGeom>
          <a:noFill/>
          <a:ln w="2857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9904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ตัวแทนหมายเลขสไลด์ 1"/>
          <p:cNvSpPr>
            <a:spLocks noGrp="1"/>
          </p:cNvSpPr>
          <p:nvPr>
            <p:ph type="sldNum" sz="quarter" idx="12"/>
          </p:nvPr>
        </p:nvSpPr>
        <p:spPr>
          <a:xfrm>
            <a:off x="6948264" y="6448251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Tahoma" pitchFamily="34" charset="0"/>
                <a:ea typeface="Tahoma" panose="020B0604030504040204" pitchFamily="34" charset="0"/>
                <a:cs typeface="Tahoma" pitchFamily="34" charset="0"/>
              </a:rPr>
              <a:t>2</a:t>
            </a:r>
          </a:p>
        </p:txBody>
      </p:sp>
      <p:sp>
        <p:nvSpPr>
          <p:cNvPr id="8" name="Title 369"/>
          <p:cNvSpPr>
            <a:spLocks noGrp="1"/>
          </p:cNvSpPr>
          <p:nvPr>
            <p:ph type="title"/>
          </p:nvPr>
        </p:nvSpPr>
        <p:spPr>
          <a:xfrm>
            <a:off x="120068" y="49893"/>
            <a:ext cx="6588224" cy="511220"/>
          </a:xfrm>
          <a:noFill/>
          <a:ln>
            <a:noFill/>
          </a:ln>
        </p:spPr>
        <p:txBody>
          <a:bodyPr anchor="ctr"/>
          <a:lstStyle/>
          <a:p>
            <a:r>
              <a:rPr lang="th-TH" sz="2000" b="1" dirty="0">
                <a:solidFill>
                  <a:schemeClr val="tx1"/>
                </a:solidFill>
              </a:rPr>
              <a:t> </a:t>
            </a:r>
            <a:r>
              <a:rPr lang="th-TH" sz="2000" dirty="0">
                <a:solidFill>
                  <a:schemeClr val="tx1"/>
                </a:solidFill>
              </a:rPr>
              <a:t>ประเด็นนโยบายสำคัญ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762000" y="722825"/>
            <a:ext cx="8189235" cy="1190671"/>
            <a:chOff x="762000" y="990600"/>
            <a:chExt cx="8189235" cy="1558673"/>
          </a:xfrm>
        </p:grpSpPr>
        <p:sp>
          <p:nvSpPr>
            <p:cNvPr id="3" name="TextBox 2"/>
            <p:cNvSpPr txBox="1"/>
            <p:nvPr/>
          </p:nvSpPr>
          <p:spPr>
            <a:xfrm>
              <a:off x="2438400" y="1360714"/>
              <a:ext cx="6480178" cy="11885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600"/>
                </a:spcBef>
              </a:pPr>
              <a:r>
                <a:rPr lang="th-TH" sz="16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9.  </a:t>
              </a:r>
              <a:r>
                <a:rPr lang="th-TH" sz="1600" dirty="0" err="1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าร</a:t>
              </a:r>
              <a:r>
                <a:rPr lang="th-TH" sz="1600" dirty="0" err="1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จัด</a:t>
              </a:r>
              <a:r>
                <a:rPr lang="th-TH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ทำแผนพลังงาน ประกอบด้วย </a:t>
              </a:r>
              <a:r>
                <a:rPr lang="en-US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Gas Plan Oil Plan AEDP </a:t>
              </a:r>
              <a:r>
                <a:rPr lang="th-TH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และ </a:t>
              </a:r>
              <a:r>
                <a:rPr lang="en-US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EP</a:t>
              </a:r>
            </a:p>
            <a:p>
              <a:pPr>
                <a:spcBef>
                  <a:spcPts val="600"/>
                </a:spcBef>
              </a:pPr>
              <a:r>
                <a:rPr lang="th-TH" sz="16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0. การ</a:t>
              </a:r>
              <a:r>
                <a:rPr lang="th-TH" sz="16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เป็นเจ้าภาพการประชุมเจ้าหน้าที่อาวุโสอาเซียนด้าน</a:t>
              </a:r>
              <a:r>
                <a:rPr lang="th-TH" sz="16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พลังงาน</a:t>
              </a:r>
            </a:p>
            <a:p>
              <a:pPr marL="342900" indent="-342900">
                <a:buFont typeface="+mj-lt"/>
                <a:buAutoNum type="arabicPeriod"/>
              </a:pPr>
              <a:endParaRPr lang="en-US" sz="16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066722" y="1414576"/>
              <a:ext cx="1066957" cy="40010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none" lIns="45719" tIns="45719" rIns="45719" bIns="45719" numCol="1" spcCol="38100" rtlCol="0" anchor="t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r>
                <a:rPr kumimoji="0" lang="th-TH" sz="2000" b="1" i="0" u="none" strike="noStrike" cap="none" spc="0" normalizeH="0" baseline="0" dirty="0" smtClean="0">
                  <a:ln>
                    <a:noFill/>
                  </a:ln>
                  <a:solidFill>
                    <a:schemeClr val="accent5"/>
                  </a:solidFill>
                  <a:effectLst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แผนงาน</a:t>
              </a:r>
            </a:p>
          </p:txBody>
        </p:sp>
        <p:sp>
          <p:nvSpPr>
            <p:cNvPr id="7" name="Rectangle 6"/>
            <p:cNvSpPr/>
            <p:nvPr/>
          </p:nvSpPr>
          <p:spPr>
            <a:xfrm>
              <a:off x="762000" y="990600"/>
              <a:ext cx="8189235" cy="1447800"/>
            </a:xfrm>
            <a:prstGeom prst="rect">
              <a:avLst/>
            </a:prstGeom>
            <a:noFill/>
            <a:ln/>
          </p:spPr>
          <p:style>
            <a:lnRef idx="2">
              <a:schemeClr val="accent5"/>
            </a:lnRef>
            <a:fillRef idx="1">
              <a:schemeClr val="lt1"/>
            </a:fillRef>
            <a:effectRef idx="0">
              <a:schemeClr val="accent5"/>
            </a:effectRef>
            <a:fontRef idx="minor">
              <a:schemeClr val="dk1"/>
            </a:fontRef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9" name="Rectangle 8"/>
          <p:cNvSpPr/>
          <p:nvPr/>
        </p:nvSpPr>
        <p:spPr>
          <a:xfrm>
            <a:off x="5481863" y="2151995"/>
            <a:ext cx="3285674" cy="4401205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าร</a:t>
            </a:r>
            <a:r>
              <a:rPr lang="th-TH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ประชุมเจ้าหน้าที่อาวุโสอาเซียนด้านพลังงาน ครั้งที่ 37 และการประชุมอื่นที่เกี่ยวข้อง (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OME)</a:t>
            </a:r>
            <a:r>
              <a:rPr 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ระดับ</a:t>
            </a:r>
            <a:r>
              <a:rPr lang="th-TH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ปลัดกระทรวง</a:t>
            </a:r>
            <a:r>
              <a:rPr 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พลังงาน 24-28 </a:t>
            </a:r>
            <a:r>
              <a:rPr lang="th-TH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มิถุนายน </a:t>
            </a:r>
            <a:r>
              <a:rPr 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56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h-TH" sz="1400" dirty="0" smtClean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lvl="0" indent="-285750" eaLnBrk="1" hangingPunct="1">
              <a:buFont typeface="Arial" panose="020B0604020202020204" pitchFamily="34" charset="0"/>
              <a:buChar char="•"/>
              <a:defRPr/>
            </a:pPr>
            <a:r>
              <a:rPr lang="th-TH" sz="14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เจ้าภาพ</a:t>
            </a:r>
            <a:r>
              <a:rPr lang="th-TH" sz="14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จัดการประชุมรัฐมนตรีพลังงานอาเซียน </a:t>
            </a:r>
            <a:r>
              <a:rPr lang="en-GB" sz="14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(AMEM)</a:t>
            </a:r>
            <a:r>
              <a:rPr lang="th-TH" sz="14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br>
              <a:rPr lang="th-TH" sz="14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r>
              <a:rPr lang="th-TH" altLang="en-US" sz="14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ระดับรัฐมนตรีว่าการกระทรวงพลังงาน</a:t>
            </a:r>
            <a:r>
              <a:rPr lang="th-TH" altLang="en-US" sz="14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th-TH" altLang="en-US" sz="14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2-6 กันยายน 2562</a:t>
            </a:r>
          </a:p>
          <a:p>
            <a:pPr marL="285750" lvl="0" indent="-285750" eaLnBrk="1" hangingPunct="1">
              <a:buFont typeface="Arial" panose="020B0604020202020204" pitchFamily="34" charset="0"/>
              <a:buChar char="•"/>
              <a:defRPr/>
            </a:pPr>
            <a:endParaRPr lang="th-TH" altLang="en-US" sz="1400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lvl="0" indent="-285750" eaLnBrk="1" hangingPunct="1">
              <a:buFont typeface="Arial" panose="020B0604020202020204" pitchFamily="34" charset="0"/>
              <a:buChar char="•"/>
              <a:defRPr/>
            </a:pPr>
            <a:endParaRPr lang="th-TH" altLang="en-US" sz="1400" dirty="0" smtClean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lvl="0" indent="-285750" eaLnBrk="1" hangingPunct="1">
              <a:buFont typeface="Arial" panose="020B0604020202020204" pitchFamily="34" charset="0"/>
              <a:buChar char="•"/>
              <a:defRPr/>
            </a:pPr>
            <a:endParaRPr lang="th-TH" altLang="en-US" sz="1400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lvl="0" indent="-285750" eaLnBrk="1" hangingPunct="1">
              <a:buFont typeface="Arial" panose="020B0604020202020204" pitchFamily="34" charset="0"/>
              <a:buChar char="•"/>
              <a:defRPr/>
            </a:pPr>
            <a:endParaRPr lang="th-TH" altLang="en-US" sz="1400" dirty="0" smtClean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lvl="0" indent="-285750" eaLnBrk="1" hangingPunct="1">
              <a:buFont typeface="Arial" panose="020B0604020202020204" pitchFamily="34" charset="0"/>
              <a:buChar char="•"/>
              <a:defRPr/>
            </a:pPr>
            <a:endParaRPr lang="th-TH" altLang="en-US" sz="1400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lvl="0" indent="-285750" eaLnBrk="1" hangingPunct="1">
              <a:buFont typeface="Arial" panose="020B0604020202020204" pitchFamily="34" charset="0"/>
              <a:buChar char="•"/>
              <a:defRPr/>
            </a:pPr>
            <a:endParaRPr lang="th-TH" altLang="en-US" sz="1400" dirty="0" smtClean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lvl="0" indent="-285750" eaLnBrk="1" hangingPunct="1">
              <a:buFont typeface="Arial" panose="020B0604020202020204" pitchFamily="34" charset="0"/>
              <a:buChar char="•"/>
              <a:defRPr/>
            </a:pPr>
            <a:endParaRPr lang="th-TH" altLang="en-US" sz="1400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lvl="0" indent="-285750" eaLnBrk="1" hangingPunct="1">
              <a:buFont typeface="Arial" panose="020B0604020202020204" pitchFamily="34" charset="0"/>
              <a:buChar char="•"/>
              <a:defRPr/>
            </a:pPr>
            <a:endParaRPr lang="th-TH" altLang="en-US" sz="1400" dirty="0" smtClean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lvl="0" indent="-285750" eaLnBrk="1" hangingPunct="1">
              <a:buFont typeface="Arial" panose="020B0604020202020204" pitchFamily="34" charset="0"/>
              <a:buChar char="•"/>
              <a:defRPr/>
            </a:pPr>
            <a:endParaRPr lang="th-TH" altLang="en-US" sz="1400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lvl="0" eaLnBrk="1" hangingPunct="1">
              <a:defRPr/>
            </a:pPr>
            <a:r>
              <a:rPr lang="th-TH" altLang="en-US" sz="14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/>
            </a:r>
            <a:br>
              <a:rPr lang="th-TH" altLang="en-US" sz="14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</a:br>
            <a:endParaRPr lang="en-US" altLang="en-US" sz="14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200" y="3397417"/>
            <a:ext cx="4368811" cy="2972401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597895" y="2129730"/>
            <a:ext cx="4576459" cy="4401205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th-TH" sz="1400" kern="1200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หน่วยงานอยู่ระหว่าง</a:t>
            </a:r>
            <a:r>
              <a:rPr lang="th-TH" sz="1400" kern="1200" dirty="0" err="1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การจัด</a:t>
            </a:r>
            <a:r>
              <a:rPr lang="th-TH" sz="1400" kern="1200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ทำแผน</a:t>
            </a:r>
            <a:r>
              <a:rPr lang="th-TH" sz="1400" kern="12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แม่บทของกระทรวงพลังงาน </a:t>
            </a:r>
            <a:r>
              <a:rPr lang="en-US" sz="1400" kern="12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(</a:t>
            </a:r>
            <a:r>
              <a:rPr lang="th-TH" sz="1400" kern="1200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พ.ศ.</a:t>
            </a:r>
            <a:r>
              <a:rPr lang="th-TH" sz="1400" kern="1200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2562-2565</a:t>
            </a:r>
            <a:r>
              <a:rPr lang="en-US" sz="1400" kern="1200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)</a:t>
            </a:r>
            <a:endParaRPr lang="th-TH" sz="1400" kern="12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h-TH" sz="1400" kern="1200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อยู่ระหว่างการปรับปรุง </a:t>
            </a:r>
            <a:r>
              <a:rPr lang="en-US" sz="1400" kern="1200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TIEB </a:t>
            </a:r>
            <a:r>
              <a:rPr lang="th-TH" sz="1400" kern="1200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ให้สอดคล้องกับ </a:t>
            </a:r>
            <a:r>
              <a:rPr lang="en-US" sz="1400" kern="1200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PDP 2018 </a:t>
            </a:r>
            <a:r>
              <a:rPr lang="th-TH" sz="1400" kern="1200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ที่ ครม. เห็นชอบแล้ว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h-TH" sz="1400" kern="1200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h-TH" sz="1400" kern="12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h-TH" sz="1400" kern="1200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h-TH" sz="1400" kern="12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h-TH" sz="1400" kern="1200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h-TH" sz="1400" kern="12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h-TH" sz="1400" kern="1200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h-TH" sz="1400" kern="12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h-TH" sz="1400" kern="1200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h-TH" sz="1400" kern="12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h-TH" sz="1400" kern="1200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h-TH" sz="1400" kern="12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h-TH" sz="1400" kern="1200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h-TH" sz="1400" kern="1200" dirty="0" smtClean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th-TH" sz="1400" kern="1200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400" dirty="0"/>
          </a:p>
        </p:txBody>
      </p:sp>
      <p:pic>
        <p:nvPicPr>
          <p:cNvPr id="5" name="Picture 2" descr="https://energy.go.th/2015/wp-content/uploads/2019/06/S__1859751-640x426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5076" y="4381695"/>
            <a:ext cx="3035524" cy="2020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25222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228600"/>
            <a:ext cx="8991600" cy="392088"/>
          </a:xfrm>
          <a:noFill/>
        </p:spPr>
        <p:txBody>
          <a:bodyPr/>
          <a:lstStyle/>
          <a:p>
            <a:r>
              <a:rPr lang="th-TH" sz="2000" dirty="0">
                <a:solidFill>
                  <a:schemeClr val="tx1"/>
                </a:solidFill>
              </a:rPr>
              <a:t>หัวข้อนำเสนอ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CC8D51-5B81-4427-8368-374905FFCA51}" type="slidenum">
              <a:rPr kumimoji="0" lang="en-US" altLang="th-TH" sz="10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altLang="th-TH" sz="10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3282663073"/>
              </p:ext>
            </p:extLst>
          </p:nvPr>
        </p:nvGraphicFramePr>
        <p:xfrm>
          <a:off x="609600" y="1447800"/>
          <a:ext cx="7620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976513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2743200"/>
            <a:ext cx="9067800" cy="1219200"/>
          </a:xfrm>
          <a:solidFill>
            <a:schemeClr val="bg2"/>
          </a:solidFill>
        </p:spPr>
        <p:txBody>
          <a:bodyPr/>
          <a:lstStyle/>
          <a:p>
            <a:pPr lvl="0" algn="ctr"/>
            <a:r>
              <a:rPr lang="th-TH" dirty="0"/>
              <a:t/>
            </a:r>
            <a:br>
              <a:rPr lang="th-TH" dirty="0"/>
            </a:br>
            <a:r>
              <a:rPr lang="th-TH" dirty="0"/>
              <a:t>ภารกิจสำนักงานพลังงานจังหวัด</a:t>
            </a:r>
            <a:r>
              <a:rPr lang="en-US" dirty="0"/>
              <a:t/>
            </a:r>
            <a:br>
              <a:rPr lang="en-US" dirty="0"/>
            </a:br>
            <a:r>
              <a:rPr lang="th-TH" dirty="0"/>
              <a:t/>
            </a:r>
            <a:br>
              <a:rPr lang="th-TH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CC8D51-5B81-4427-8368-374905FFCA51}" type="slidenum">
              <a:rPr kumimoji="0" lang="en-US" altLang="th-TH" sz="10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altLang="th-TH" sz="10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2842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CC8D51-5B81-4427-8368-374905FFCA51}" type="slidenum">
              <a:rPr kumimoji="0" lang="en-US" altLang="th-TH" sz="10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altLang="th-TH" sz="10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5" name="Title 369"/>
          <p:cNvSpPr>
            <a:spLocks noGrp="1"/>
          </p:cNvSpPr>
          <p:nvPr>
            <p:ph type="title"/>
          </p:nvPr>
        </p:nvSpPr>
        <p:spPr>
          <a:xfrm>
            <a:off x="243848" y="37460"/>
            <a:ext cx="8900151" cy="511220"/>
          </a:xfrm>
          <a:noFill/>
          <a:ln>
            <a:noFill/>
          </a:ln>
        </p:spPr>
        <p:txBody>
          <a:bodyPr anchor="ctr"/>
          <a:lstStyle/>
          <a:p>
            <a:pPr marL="342900" lvl="0" indent="-342900">
              <a:spcBef>
                <a:spcPct val="50000"/>
              </a:spcBef>
              <a:tabLst>
                <a:tab pos="990600" algn="l"/>
                <a:tab pos="1890713" algn="l"/>
              </a:tabLst>
              <a:defRPr/>
            </a:pPr>
            <a:r>
              <a:rPr lang="th-TH" sz="2000" kern="500" dirty="0">
                <a:solidFill>
                  <a:schemeClr val="tx1"/>
                </a:solidFill>
              </a:rPr>
              <a:t>ภารกิจสำนักงานพลังงานจังหวัด</a:t>
            </a:r>
            <a:endParaRPr lang="th-TH" sz="2000" b="1" kern="500" dirty="0">
              <a:solidFill>
                <a:schemeClr val="tx1"/>
              </a:solidFill>
            </a:endParaRP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3284098"/>
              </p:ext>
            </p:extLst>
          </p:nvPr>
        </p:nvGraphicFramePr>
        <p:xfrm>
          <a:off x="391525" y="1143000"/>
          <a:ext cx="8456813" cy="5283200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589675">
                  <a:extLst>
                    <a:ext uri="{9D8B030D-6E8A-4147-A177-3AD203B41FA5}">
                      <a16:colId xmlns:a16="http://schemas.microsoft.com/office/drawing/2014/main" val="1754819886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2288758583"/>
                    </a:ext>
                  </a:extLst>
                </a:gridCol>
                <a:gridCol w="4953000">
                  <a:extLst>
                    <a:ext uri="{9D8B030D-6E8A-4147-A177-3AD203B41FA5}">
                      <a16:colId xmlns:a16="http://schemas.microsoft.com/office/drawing/2014/main" val="3119779899"/>
                    </a:ext>
                  </a:extLst>
                </a:gridCol>
                <a:gridCol w="1533138">
                  <a:extLst>
                    <a:ext uri="{9D8B030D-6E8A-4147-A177-3AD203B41FA5}">
                      <a16:colId xmlns:a16="http://schemas.microsoft.com/office/drawing/2014/main" val="3921964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th-TH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ระเด็น</a:t>
                      </a:r>
                      <a:endParaRPr lang="en-US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อำนาจหน้าที่ </a:t>
                      </a:r>
                      <a:r>
                        <a:rPr lang="th-TH" sz="16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พ</a:t>
                      </a: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จ. ตามกฎกระทรวง</a:t>
                      </a:r>
                      <a:endParaRPr lang="en-US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รมที่เกี่ยวข้อง</a:t>
                      </a:r>
                      <a:endParaRPr lang="en-US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1545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ื่อสารและประสานงาน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Font typeface="+mj-lt"/>
                        <a:buNone/>
                      </a:pP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.</a:t>
                      </a:r>
                      <a:endParaRPr lang="th-TH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buFont typeface="+mj-lt"/>
                        <a:buNone/>
                      </a:pP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ระสานงานและปฏิบัติหน้าที่ในฐานะผู้แทนของกระทรวงในส่วนภูมิภาครวมทั้งประสาน และสนับสนุนการปฏิบัติงานด้านพลังงาน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ป.พน.</a:t>
                      </a:r>
                      <a:endParaRPr lang="en-US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0329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ความปลอดภัย</a:t>
                      </a:r>
                      <a:br>
                        <a:rPr lang="th-TH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</a:br>
                      <a:r>
                        <a:rPr lang="th-TH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น้ำมัน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.</a:t>
                      </a:r>
                      <a:endParaRPr lang="th-TH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ํากับดูแล</a:t>
                      </a: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และส่งเสริม</a:t>
                      </a:r>
                      <a:r>
                        <a:rPr lang="th-TH" sz="16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ารดําเนินงาน</a:t>
                      </a: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ด้านความปลอดภัยและสิ่งแวดล้อมของกิจการน้ำมันเชื้อเพลิง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ธพ</a:t>
                      </a: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  <a:endParaRPr lang="en-US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183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คุณภาพน้ำมัน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</a:t>
                      </a:r>
                      <a:endParaRPr lang="th-TH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ํากับดูแล</a:t>
                      </a: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คุณภาพ การค้า และการ</a:t>
                      </a:r>
                      <a:r>
                        <a:rPr lang="th-TH" sz="16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ํารอง</a:t>
                      </a: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น้ำมันเชื้อเพลิง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ธพ</a:t>
                      </a: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  <a:endParaRPr lang="en-US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42683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่งเสริม</a:t>
                      </a:r>
                      <a:r>
                        <a:rPr lang="th-TH" sz="1600" b="1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E</a:t>
                      </a:r>
                      <a:r>
                        <a:rPr lang="th-TH" sz="1600" b="1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E</a:t>
                      </a:r>
                      <a:endParaRPr lang="th-TH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endParaRPr lang="th-TH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.</a:t>
                      </a:r>
                      <a:endParaRPr lang="th-TH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่งเสริมและพัฒนาพลังงานทดแทนและการอนุรักษ์พลังงาน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พพ</a:t>
                      </a: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 / สป.พน.</a:t>
                      </a: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/</a:t>
                      </a: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.</a:t>
                      </a:r>
                      <a:r>
                        <a:rPr lang="th-TH" sz="16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ท</a:t>
                      </a: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อ.</a:t>
                      </a:r>
                      <a:endParaRPr lang="en-US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276839"/>
                  </a:ext>
                </a:extLst>
              </a:tr>
              <a:tr h="187960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ำรวจขุดเจาะ</a:t>
                      </a:r>
                      <a:br>
                        <a:rPr lang="th-TH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</a:br>
                      <a:r>
                        <a:rPr lang="th-TH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ิโตรเลียม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.</a:t>
                      </a:r>
                      <a:endParaRPr lang="th-TH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ระสานและ</a:t>
                      </a:r>
                      <a:r>
                        <a:rPr lang="th-TH" sz="16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อํานว</a:t>
                      </a: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ยความสะดวกใน</a:t>
                      </a:r>
                      <a:r>
                        <a:rPr lang="th-TH" sz="16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ารสํารวจ</a:t>
                      </a: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และผลิตเชื้อเพลิงธรรมชาติ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ชธ.</a:t>
                      </a:r>
                      <a:endParaRPr lang="en-US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0207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ขับเคลื่อนยุทธศาสตร์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endParaRPr lang="th-TH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.</a:t>
                      </a:r>
                      <a:endParaRPr lang="th-TH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จัดทำ เสนอแนะ และประสานแผนพัฒนาพลังงานในระดับจังหวัด รวมทั้ง  ประสานการพัฒนา และประเมินผล</a:t>
                      </a:r>
                      <a:r>
                        <a:rPr lang="th-TH" sz="16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ารดําเนินงาน</a:t>
                      </a: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ตามแผนดังกล่าว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ป.พน.</a:t>
                      </a:r>
                      <a:endParaRPr lang="en-US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38076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เครือข่าย/</a:t>
                      </a:r>
                      <a:r>
                        <a:rPr lang="en-US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</a:t>
                      </a:r>
                      <a:endParaRPr lang="th-TH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.</a:t>
                      </a:r>
                      <a:endParaRPr lang="th-TH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่งเสริมการมีส่วนร่วมของทุกภาคส่วนในงานด้านพลังงาน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ป.พน.</a:t>
                      </a:r>
                      <a:endParaRPr lang="en-US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68676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อื่น</a:t>
                      </a:r>
                      <a:r>
                        <a:rPr lang="th-TH" sz="1600" b="1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ๆ </a:t>
                      </a:r>
                      <a:endParaRPr lang="th-TH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.</a:t>
                      </a:r>
                      <a:endParaRPr lang="th-TH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ฏิบัติงานร่วมกับหรือสนับสนุนการปฏิบัติงานของหน่วยงานอื่นที่เกี่ยวข้อง หรือที่ได้รับมอบหมาย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ทุกกรม</a:t>
                      </a:r>
                      <a:endParaRPr lang="en-US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2261184"/>
                  </a:ext>
                </a:extLst>
              </a:tr>
            </a:tbl>
          </a:graphicData>
        </a:graphic>
      </p:graphicFrame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95536" y="685800"/>
            <a:ext cx="8610778" cy="557057"/>
          </a:xfrm>
        </p:spPr>
        <p:txBody>
          <a:bodyPr/>
          <a:lstStyle/>
          <a:p>
            <a:pPr marL="0" indent="0">
              <a:buNone/>
            </a:pPr>
            <a:r>
              <a:rPr lang="th-TH" sz="1800" dirty="0"/>
              <a:t>กฎกระทรวงแบ่งส่วน</a:t>
            </a:r>
            <a:r>
              <a:rPr lang="th-TH" sz="1800" dirty="0" smtClean="0"/>
              <a:t>ราชการสำนักงาน</a:t>
            </a:r>
            <a:r>
              <a:rPr lang="th-TH" sz="1800" dirty="0"/>
              <a:t>ปลัดกระทรวงกระทรวงพลังงาน พ.ศ. </a:t>
            </a:r>
            <a:r>
              <a:rPr lang="en-US" sz="1800" dirty="0"/>
              <a:t>2562 </a:t>
            </a:r>
            <a:r>
              <a:rPr lang="th-TH" sz="1800" dirty="0"/>
              <a:t>ข้อ 13</a:t>
            </a:r>
          </a:p>
        </p:txBody>
      </p:sp>
    </p:spTree>
    <p:extLst>
      <p:ext uri="{BB962C8B-B14F-4D97-AF65-F5344CB8AC3E}">
        <p14:creationId xmlns:p14="http://schemas.microsoft.com/office/powerpoint/2010/main" val="10133237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itle 1"/>
          <p:cNvSpPr txBox="1">
            <a:spLocks/>
          </p:cNvSpPr>
          <p:nvPr/>
        </p:nvSpPr>
        <p:spPr>
          <a:xfrm>
            <a:off x="304800" y="181024"/>
            <a:ext cx="8613929" cy="482774"/>
          </a:xfrm>
          <a:prstGeom prst="rect">
            <a:avLst/>
          </a:prstGeom>
          <a:noFill/>
          <a:ln w="12700">
            <a:noFill/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Autofit/>
          </a:bodyPr>
          <a:lstStyle>
            <a:lvl1pPr marL="0" marR="0" indent="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2800" b="1" i="0" u="none" strike="noStrike" cap="none" spc="0" baseline="0">
                <a:ln>
                  <a:noFill/>
                </a:ln>
                <a:solidFill>
                  <a:schemeClr val="bg1"/>
                </a:solidFill>
                <a:uFillTx/>
                <a:latin typeface="Tahoma" pitchFamily="34" charset="0"/>
                <a:ea typeface="Tahoma" pitchFamily="34" charset="0"/>
                <a:cs typeface="Tahoma" pitchFamily="34" charset="0"/>
                <a:sym typeface="Arial"/>
              </a:defRPr>
            </a:lvl1pPr>
            <a:lvl2pPr marL="0" marR="0" indent="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46543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930888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1396332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1861776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hangingPunct="1"/>
            <a:r>
              <a:rPr lang="th-TH" sz="2000" dirty="0">
                <a:solidFill>
                  <a:schemeClr val="tx1"/>
                </a:solidFill>
              </a:rPr>
              <a:t>ภารกิจการขับเคลื่อนงานจากส่วนกลางในเชิงพื้นที่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E9ADCDF-B6CC-471D-BAC0-3DA50373B877}"/>
              </a:ext>
            </a:extLst>
          </p:cNvPr>
          <p:cNvGrpSpPr/>
          <p:nvPr/>
        </p:nvGrpSpPr>
        <p:grpSpPr>
          <a:xfrm>
            <a:off x="425302" y="838200"/>
            <a:ext cx="8037362" cy="5638800"/>
            <a:chOff x="425302" y="838200"/>
            <a:chExt cx="8037362" cy="5852160"/>
          </a:xfrm>
        </p:grpSpPr>
        <p:sp>
          <p:nvSpPr>
            <p:cNvPr id="5" name="ชื่อเรื่อง 1"/>
            <p:cNvSpPr txBox="1">
              <a:spLocks/>
            </p:cNvSpPr>
            <p:nvPr/>
          </p:nvSpPr>
          <p:spPr>
            <a:xfrm>
              <a:off x="457200" y="1673038"/>
              <a:ext cx="1183125" cy="1085402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600" dirty="0">
                  <a:solidFill>
                    <a:schemeClr val="tx1"/>
                  </a:solidFill>
                </a:rPr>
                <a:t>ขับเคลื่อนยุทธศาสตร์กระทรวงพลังงาน</a:t>
              </a:r>
            </a:p>
            <a:p>
              <a:endParaRPr lang="th-TH" sz="1600" dirty="0">
                <a:solidFill>
                  <a:schemeClr val="tx1"/>
                </a:solidFill>
              </a:endParaRPr>
            </a:p>
          </p:txBody>
        </p:sp>
        <p:sp>
          <p:nvSpPr>
            <p:cNvPr id="6" name="ชื่อเรื่อง 1"/>
            <p:cNvSpPr txBox="1">
              <a:spLocks/>
            </p:cNvSpPr>
            <p:nvPr/>
          </p:nvSpPr>
          <p:spPr>
            <a:xfrm>
              <a:off x="457200" y="3992880"/>
              <a:ext cx="2316832" cy="82296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sz="1600" dirty="0">
                <a:solidFill>
                  <a:schemeClr val="tx1"/>
                </a:solidFill>
              </a:endParaRPr>
            </a:p>
            <a:p>
              <a:r>
                <a:rPr lang="th-TH" sz="1600" dirty="0">
                  <a:solidFill>
                    <a:schemeClr val="tx1"/>
                  </a:solidFill>
                </a:rPr>
                <a:t>สร้างการรับรู้ (</a:t>
              </a:r>
              <a:r>
                <a:rPr lang="en-US" sz="1600" dirty="0">
                  <a:solidFill>
                    <a:schemeClr val="tx1"/>
                  </a:solidFill>
                </a:rPr>
                <a:t>PR</a:t>
              </a:r>
              <a:r>
                <a:rPr lang="th-TH" sz="1600" dirty="0">
                  <a:solidFill>
                    <a:schemeClr val="tx1"/>
                  </a:solidFill>
                </a:rPr>
                <a:t>)</a:t>
              </a:r>
            </a:p>
          </p:txBody>
        </p:sp>
        <p:sp>
          <p:nvSpPr>
            <p:cNvPr id="7" name="ชื่อเรื่อง 1"/>
            <p:cNvSpPr txBox="1">
              <a:spLocks/>
            </p:cNvSpPr>
            <p:nvPr/>
          </p:nvSpPr>
          <p:spPr>
            <a:xfrm>
              <a:off x="457200" y="2895600"/>
              <a:ext cx="2316832" cy="96012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600" dirty="0">
                  <a:solidFill>
                    <a:schemeClr val="tx1"/>
                  </a:solidFill>
                </a:rPr>
                <a:t>เครือข่าย </a:t>
              </a:r>
              <a:br>
                <a:rPr lang="th-TH" sz="1600" dirty="0">
                  <a:solidFill>
                    <a:schemeClr val="tx1"/>
                  </a:solidFill>
                </a:rPr>
              </a:br>
              <a:r>
                <a:rPr lang="th-TH" sz="1600" dirty="0">
                  <a:solidFill>
                    <a:schemeClr val="tx1"/>
                  </a:solidFill>
                </a:rPr>
                <a:t>(อส.พน./เจตคติ)</a:t>
              </a:r>
            </a:p>
          </p:txBody>
        </p:sp>
        <p:sp>
          <p:nvSpPr>
            <p:cNvPr id="8" name="ชื่อเรื่อง 1"/>
            <p:cNvSpPr txBox="1">
              <a:spLocks/>
            </p:cNvSpPr>
            <p:nvPr/>
          </p:nvSpPr>
          <p:spPr>
            <a:xfrm>
              <a:off x="2846040" y="838200"/>
              <a:ext cx="1336335" cy="685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600" dirty="0">
                  <a:solidFill>
                    <a:schemeClr val="tx1"/>
                  </a:solidFill>
                </a:rPr>
                <a:t>ระดับกระทรวง</a:t>
              </a:r>
            </a:p>
          </p:txBody>
        </p:sp>
        <p:sp>
          <p:nvSpPr>
            <p:cNvPr id="9" name="ชื่อเรื่อง 1"/>
            <p:cNvSpPr txBox="1">
              <a:spLocks/>
            </p:cNvSpPr>
            <p:nvPr/>
          </p:nvSpPr>
          <p:spPr>
            <a:xfrm>
              <a:off x="4286200" y="838200"/>
              <a:ext cx="1274752" cy="685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600" dirty="0">
                  <a:solidFill>
                    <a:schemeClr val="tx1"/>
                  </a:solidFill>
                </a:rPr>
                <a:t>ระดับกลุ่มจังหวัด</a:t>
              </a:r>
            </a:p>
          </p:txBody>
        </p:sp>
        <p:sp>
          <p:nvSpPr>
            <p:cNvPr id="10" name="ชื่อเรื่อง 1"/>
            <p:cNvSpPr txBox="1">
              <a:spLocks/>
            </p:cNvSpPr>
            <p:nvPr/>
          </p:nvSpPr>
          <p:spPr>
            <a:xfrm>
              <a:off x="7022504" y="838200"/>
              <a:ext cx="1440160" cy="685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600" dirty="0">
                  <a:solidFill>
                    <a:schemeClr val="tx1"/>
                  </a:solidFill>
                </a:rPr>
                <a:t>ระดับตำบล(ชุมชน)</a:t>
              </a:r>
            </a:p>
          </p:txBody>
        </p:sp>
        <p:sp>
          <p:nvSpPr>
            <p:cNvPr id="11" name="ชื่อเรื่อง 1"/>
            <p:cNvSpPr txBox="1">
              <a:spLocks/>
            </p:cNvSpPr>
            <p:nvPr/>
          </p:nvSpPr>
          <p:spPr>
            <a:xfrm>
              <a:off x="5654352" y="838200"/>
              <a:ext cx="1274752" cy="68580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600" dirty="0">
                  <a:solidFill>
                    <a:schemeClr val="tx1"/>
                  </a:solidFill>
                </a:rPr>
                <a:t>ระดับจังหวัด</a:t>
              </a:r>
            </a:p>
          </p:txBody>
        </p:sp>
        <p:sp>
          <p:nvSpPr>
            <p:cNvPr id="12" name="ชื่อเรื่อง 1"/>
            <p:cNvSpPr txBox="1">
              <a:spLocks/>
            </p:cNvSpPr>
            <p:nvPr/>
          </p:nvSpPr>
          <p:spPr>
            <a:xfrm>
              <a:off x="2846040" y="1661160"/>
              <a:ext cx="4104456" cy="607743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600" dirty="0">
                  <a:solidFill>
                    <a:schemeClr val="tx1"/>
                  </a:solidFill>
                </a:rPr>
                <a:t>สป.พน. / ชธ./ธพ./พพ. /สนพ./กฟผ./ปตท.</a:t>
              </a:r>
            </a:p>
          </p:txBody>
        </p:sp>
        <p:sp>
          <p:nvSpPr>
            <p:cNvPr id="13" name="ชื่อเรื่อง 1"/>
            <p:cNvSpPr txBox="1">
              <a:spLocks/>
            </p:cNvSpPr>
            <p:nvPr/>
          </p:nvSpPr>
          <p:spPr>
            <a:xfrm>
              <a:off x="1693912" y="1661160"/>
              <a:ext cx="1080120" cy="548640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9050"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400" dirty="0">
                  <a:solidFill>
                    <a:schemeClr val="tx1"/>
                  </a:solidFill>
                </a:rPr>
                <a:t>เจ้าภาพหลัก</a:t>
              </a:r>
            </a:p>
          </p:txBody>
        </p:sp>
        <p:sp>
          <p:nvSpPr>
            <p:cNvPr id="14" name="ชื่อเรื่อง 1"/>
            <p:cNvSpPr txBox="1">
              <a:spLocks/>
            </p:cNvSpPr>
            <p:nvPr/>
          </p:nvSpPr>
          <p:spPr>
            <a:xfrm>
              <a:off x="1693912" y="2285725"/>
              <a:ext cx="1080120" cy="472715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 w="19050"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400" dirty="0">
                  <a:solidFill>
                    <a:schemeClr val="tx1"/>
                  </a:solidFill>
                </a:rPr>
                <a:t>สนับสนุน</a:t>
              </a:r>
            </a:p>
          </p:txBody>
        </p:sp>
        <p:sp>
          <p:nvSpPr>
            <p:cNvPr id="15" name="ชื่อเรื่อง 1"/>
            <p:cNvSpPr txBox="1">
              <a:spLocks/>
            </p:cNvSpPr>
            <p:nvPr/>
          </p:nvSpPr>
          <p:spPr>
            <a:xfrm>
              <a:off x="457200" y="4953000"/>
              <a:ext cx="2316832" cy="82296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th-TH" sz="1600" dirty="0">
                <a:solidFill>
                  <a:schemeClr val="tx1"/>
                </a:solidFill>
              </a:endParaRPr>
            </a:p>
            <a:p>
              <a:r>
                <a:rPr lang="th-TH" sz="1600" dirty="0">
                  <a:solidFill>
                    <a:schemeClr val="tx1"/>
                  </a:solidFill>
                </a:rPr>
                <a:t>งานวิชาการ</a:t>
              </a:r>
              <a:endParaRPr lang="th-TH" sz="1600" b="1" dirty="0">
                <a:solidFill>
                  <a:schemeClr val="tx1"/>
                </a:solidFill>
              </a:endParaRPr>
            </a:p>
          </p:txBody>
        </p:sp>
        <p:sp>
          <p:nvSpPr>
            <p:cNvPr id="16" name="ชื่อเรื่อง 1"/>
            <p:cNvSpPr txBox="1">
              <a:spLocks/>
            </p:cNvSpPr>
            <p:nvPr/>
          </p:nvSpPr>
          <p:spPr>
            <a:xfrm>
              <a:off x="2846040" y="4953000"/>
              <a:ext cx="1296144" cy="82296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600" dirty="0">
                  <a:solidFill>
                    <a:schemeClr val="tx1"/>
                  </a:solidFill>
                </a:rPr>
                <a:t>ชธ./ธพ./พพ./สนพ./กฟผ./ปตท.</a:t>
              </a:r>
            </a:p>
          </p:txBody>
        </p:sp>
        <p:sp>
          <p:nvSpPr>
            <p:cNvPr id="17" name="ชื่อเรื่อง 1"/>
            <p:cNvSpPr txBox="1">
              <a:spLocks/>
            </p:cNvSpPr>
            <p:nvPr/>
          </p:nvSpPr>
          <p:spPr>
            <a:xfrm>
              <a:off x="4214192" y="4953000"/>
              <a:ext cx="4248472" cy="82296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th-TH" sz="1600" b="1" dirty="0">
                <a:solidFill>
                  <a:srgbClr val="7030A0"/>
                </a:solidFill>
              </a:endParaRPr>
            </a:p>
            <a:p>
              <a:r>
                <a:rPr lang="th-TH" sz="1600" dirty="0">
                  <a:solidFill>
                    <a:schemeClr val="tx1"/>
                  </a:solidFill>
                </a:rPr>
                <a:t>สป.พน. (กศร. /</a:t>
              </a:r>
              <a:r>
                <a:rPr lang="th-TH" sz="1600" dirty="0" err="1">
                  <a:solidFill>
                    <a:schemeClr val="tx1"/>
                  </a:solidFill>
                </a:rPr>
                <a:t>สสช</a:t>
              </a:r>
              <a:r>
                <a:rPr lang="th-TH" sz="1600" dirty="0">
                  <a:solidFill>
                    <a:schemeClr val="tx1"/>
                  </a:solidFill>
                </a:rPr>
                <a:t>.)</a:t>
              </a:r>
            </a:p>
          </p:txBody>
        </p:sp>
        <p:sp>
          <p:nvSpPr>
            <p:cNvPr id="18" name="ชื่อเรื่อง 1"/>
            <p:cNvSpPr txBox="1">
              <a:spLocks/>
            </p:cNvSpPr>
            <p:nvPr/>
          </p:nvSpPr>
          <p:spPr>
            <a:xfrm>
              <a:off x="2846040" y="3992880"/>
              <a:ext cx="1296144" cy="82296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600" dirty="0">
                  <a:solidFill>
                    <a:schemeClr val="tx1"/>
                  </a:solidFill>
                </a:rPr>
                <a:t>สป.พน. (</a:t>
              </a:r>
              <a:r>
                <a:rPr lang="th-TH" sz="1600" dirty="0" err="1">
                  <a:solidFill>
                    <a:schemeClr val="tx1"/>
                  </a:solidFill>
                </a:rPr>
                <a:t>กยผ</a:t>
              </a:r>
              <a:r>
                <a:rPr lang="th-TH" sz="1600" dirty="0">
                  <a:solidFill>
                    <a:schemeClr val="tx1"/>
                  </a:solidFill>
                </a:rPr>
                <a:t>.)</a:t>
              </a:r>
            </a:p>
          </p:txBody>
        </p:sp>
        <p:sp>
          <p:nvSpPr>
            <p:cNvPr id="19" name="ชื่อเรื่อง 1"/>
            <p:cNvSpPr txBox="1">
              <a:spLocks/>
            </p:cNvSpPr>
            <p:nvPr/>
          </p:nvSpPr>
          <p:spPr>
            <a:xfrm>
              <a:off x="2846040" y="2346960"/>
              <a:ext cx="2664296" cy="150876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th-TH" sz="1600" b="1" dirty="0">
                <a:solidFill>
                  <a:schemeClr val="tx1"/>
                </a:solidFill>
              </a:endParaRPr>
            </a:p>
            <a:p>
              <a:endParaRPr lang="th-TH" sz="1600" b="1" dirty="0">
                <a:solidFill>
                  <a:schemeClr val="tx1"/>
                </a:solidFill>
              </a:endParaRPr>
            </a:p>
            <a:p>
              <a:r>
                <a:rPr lang="th-TH" sz="1600" dirty="0">
                  <a:solidFill>
                    <a:schemeClr val="tx1"/>
                  </a:solidFill>
                </a:rPr>
                <a:t>สป.พน. (กศร. / </a:t>
              </a:r>
              <a:r>
                <a:rPr lang="th-TH" sz="1600" dirty="0" err="1">
                  <a:solidFill>
                    <a:schemeClr val="tx1"/>
                  </a:solidFill>
                </a:rPr>
                <a:t>สสช</a:t>
              </a:r>
              <a:r>
                <a:rPr lang="th-TH" sz="1600" dirty="0">
                  <a:solidFill>
                    <a:schemeClr val="tx1"/>
                  </a:solidFill>
                </a:rPr>
                <a:t>.) </a:t>
              </a:r>
            </a:p>
          </p:txBody>
        </p:sp>
        <p:sp>
          <p:nvSpPr>
            <p:cNvPr id="20" name="ชื่อเรื่อง 1"/>
            <p:cNvSpPr txBox="1">
              <a:spLocks/>
            </p:cNvSpPr>
            <p:nvPr/>
          </p:nvSpPr>
          <p:spPr>
            <a:xfrm>
              <a:off x="4214192" y="3992880"/>
              <a:ext cx="1296144" cy="82296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th-TH" sz="1600" dirty="0">
                <a:solidFill>
                  <a:schemeClr val="tx1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4214192" y="3855720"/>
              <a:ext cx="1296144" cy="41148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th-TH" sz="16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แ</a:t>
              </a:r>
            </a:p>
          </p:txBody>
        </p:sp>
        <p:cxnSp>
          <p:nvCxnSpPr>
            <p:cNvPr id="22" name="Straight Connector 21"/>
            <p:cNvCxnSpPr/>
            <p:nvPr/>
          </p:nvCxnSpPr>
          <p:spPr>
            <a:xfrm>
              <a:off x="5510336" y="2346960"/>
              <a:ext cx="0" cy="2331720"/>
            </a:xfrm>
            <a:prstGeom prst="line">
              <a:avLst/>
            </a:prstGeom>
            <a:ln w="28575">
              <a:solidFill>
                <a:schemeClr val="bg2">
                  <a:lumMod val="60000"/>
                  <a:lumOff val="4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>
              <a:off x="4210216" y="3855720"/>
              <a:ext cx="0" cy="480060"/>
            </a:xfrm>
            <a:prstGeom prst="line">
              <a:avLst/>
            </a:prstGeom>
            <a:ln w="28575">
              <a:solidFill>
                <a:srgbClr val="7F7F7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ชื่อเรื่อง 1"/>
            <p:cNvSpPr txBox="1">
              <a:spLocks/>
            </p:cNvSpPr>
            <p:nvPr/>
          </p:nvSpPr>
          <p:spPr>
            <a:xfrm>
              <a:off x="5582344" y="2346960"/>
              <a:ext cx="2880320" cy="246888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th-TH" sz="1600" dirty="0">
                <a:solidFill>
                  <a:schemeClr val="tx1"/>
                </a:solidFill>
              </a:endParaRPr>
            </a:p>
            <a:p>
              <a:endParaRPr lang="th-TH" sz="1600" dirty="0">
                <a:solidFill>
                  <a:schemeClr val="tx1"/>
                </a:solidFill>
              </a:endParaRPr>
            </a:p>
            <a:p>
              <a:r>
                <a:rPr lang="th-TH" sz="3600" dirty="0" err="1"/>
                <a:t>สพ</a:t>
              </a:r>
              <a:r>
                <a:rPr lang="th-TH" sz="3600" dirty="0"/>
                <a:t>จ.</a:t>
              </a:r>
            </a:p>
          </p:txBody>
        </p:sp>
        <p:sp>
          <p:nvSpPr>
            <p:cNvPr id="25" name="ชื่อเรื่อง 1"/>
            <p:cNvSpPr txBox="1">
              <a:spLocks/>
            </p:cNvSpPr>
            <p:nvPr/>
          </p:nvSpPr>
          <p:spPr>
            <a:xfrm>
              <a:off x="7022504" y="1661160"/>
              <a:ext cx="1440160" cy="54864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th-TH" sz="1600" dirty="0">
                <a:solidFill>
                  <a:schemeClr val="tx1"/>
                </a:solidFill>
              </a:endParaRPr>
            </a:p>
          </p:txBody>
        </p:sp>
        <p:sp>
          <p:nvSpPr>
            <p:cNvPr id="26" name="ชื่อเรื่อง 1"/>
            <p:cNvSpPr txBox="1">
              <a:spLocks/>
            </p:cNvSpPr>
            <p:nvPr/>
          </p:nvSpPr>
          <p:spPr>
            <a:xfrm>
              <a:off x="7022504" y="1935480"/>
              <a:ext cx="1440160" cy="822960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th-TH" sz="1600" dirty="0">
                <a:solidFill>
                  <a:schemeClr val="tx1"/>
                </a:solidFill>
              </a:endParaRPr>
            </a:p>
          </p:txBody>
        </p:sp>
        <p:sp>
          <p:nvSpPr>
            <p:cNvPr id="28" name="ชื่อเรื่อง 1">
              <a:extLst>
                <a:ext uri="{FF2B5EF4-FFF2-40B4-BE49-F238E27FC236}">
                  <a16:creationId xmlns:a16="http://schemas.microsoft.com/office/drawing/2014/main" id="{587FFCA3-5268-4473-B049-6CBF3796526B}"/>
                </a:ext>
              </a:extLst>
            </p:cNvPr>
            <p:cNvSpPr txBox="1">
              <a:spLocks/>
            </p:cNvSpPr>
            <p:nvPr/>
          </p:nvSpPr>
          <p:spPr>
            <a:xfrm>
              <a:off x="425302" y="5867400"/>
              <a:ext cx="2316832" cy="822960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9050"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th-TH" sz="1600" dirty="0">
                <a:solidFill>
                  <a:schemeClr val="tx1"/>
                </a:solidFill>
              </a:endParaRPr>
            </a:p>
            <a:p>
              <a:r>
                <a:rPr lang="th-TH" sz="1600" dirty="0">
                  <a:solidFill>
                    <a:schemeClr val="tx1"/>
                  </a:solidFill>
                </a:rPr>
                <a:t>แหล่งงบประมาณ </a:t>
              </a:r>
              <a:r>
                <a:rPr lang="en-US" sz="1600" dirty="0">
                  <a:solidFill>
                    <a:schemeClr val="tx1"/>
                  </a:solidFill>
                </a:rPr>
                <a:t>RE/EE</a:t>
              </a:r>
              <a:endParaRPr lang="th-TH" sz="1600" dirty="0">
                <a:solidFill>
                  <a:schemeClr val="tx1"/>
                </a:solidFill>
              </a:endParaRPr>
            </a:p>
          </p:txBody>
        </p:sp>
        <p:sp>
          <p:nvSpPr>
            <p:cNvPr id="30" name="ชื่อเรื่อง 1">
              <a:extLst>
                <a:ext uri="{FF2B5EF4-FFF2-40B4-BE49-F238E27FC236}">
                  <a16:creationId xmlns:a16="http://schemas.microsoft.com/office/drawing/2014/main" id="{8B25F72C-82A0-42B0-A0CA-37335BA23E62}"/>
                </a:ext>
              </a:extLst>
            </p:cNvPr>
            <p:cNvSpPr txBox="1">
              <a:spLocks/>
            </p:cNvSpPr>
            <p:nvPr/>
          </p:nvSpPr>
          <p:spPr>
            <a:xfrm>
              <a:off x="2872620" y="5854016"/>
              <a:ext cx="5590039" cy="822960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en-US" sz="1600" b="1" dirty="0">
                <a:solidFill>
                  <a:srgbClr val="7030A0"/>
                </a:solidFill>
              </a:endParaRPr>
            </a:p>
            <a:p>
              <a:r>
                <a:rPr lang="th-TH" sz="1600" dirty="0">
                  <a:solidFill>
                    <a:schemeClr val="tx1"/>
                  </a:solidFill>
                </a:rPr>
                <a:t>ส.</a:t>
              </a:r>
              <a:r>
                <a:rPr lang="th-TH" sz="1600" dirty="0" err="1">
                  <a:solidFill>
                    <a:schemeClr val="tx1"/>
                  </a:solidFill>
                </a:rPr>
                <a:t>กท</a:t>
              </a:r>
              <a:r>
                <a:rPr lang="th-TH" sz="1600" dirty="0">
                  <a:solidFill>
                    <a:schemeClr val="tx1"/>
                  </a:solidFill>
                </a:rPr>
                <a:t>อ.</a:t>
              </a: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A871A1B-1137-4945-A1C4-C20AB146F3F3}"/>
              </a:ext>
            </a:extLst>
          </p:cNvPr>
          <p:cNvGrpSpPr/>
          <p:nvPr/>
        </p:nvGrpSpPr>
        <p:grpSpPr>
          <a:xfrm>
            <a:off x="3787087" y="2057400"/>
            <a:ext cx="4213913" cy="3886200"/>
            <a:chOff x="3787087" y="2057400"/>
            <a:chExt cx="4213913" cy="3886200"/>
          </a:xfrm>
        </p:grpSpPr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48450148-19F4-4E69-82DE-67C131593F5E}"/>
                </a:ext>
              </a:extLst>
            </p:cNvPr>
            <p:cNvCxnSpPr/>
            <p:nvPr/>
          </p:nvCxnSpPr>
          <p:spPr>
            <a:xfrm>
              <a:off x="7772400" y="4419600"/>
              <a:ext cx="0" cy="60960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4977176B-941D-4D0B-BB4E-AEF74FE8D764}"/>
                </a:ext>
              </a:extLst>
            </p:cNvPr>
            <p:cNvCxnSpPr>
              <a:cxnSpLocks/>
            </p:cNvCxnSpPr>
            <p:nvPr/>
          </p:nvCxnSpPr>
          <p:spPr>
            <a:xfrm>
              <a:off x="8001000" y="4419600"/>
              <a:ext cx="0" cy="152400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34" name="Straight Arrow Connector 33">
              <a:extLst>
                <a:ext uri="{FF2B5EF4-FFF2-40B4-BE49-F238E27FC236}">
                  <a16:creationId xmlns:a16="http://schemas.microsoft.com/office/drawing/2014/main" id="{B3589159-CF96-4F13-8147-0B0E012A9C7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5106423" y="4208264"/>
              <a:ext cx="814264" cy="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36" name="Straight Arrow Connector 35">
              <a:extLst>
                <a:ext uri="{FF2B5EF4-FFF2-40B4-BE49-F238E27FC236}">
                  <a16:creationId xmlns:a16="http://schemas.microsoft.com/office/drawing/2014/main" id="{038AB5EB-2D85-4128-9206-2BD1F9835F3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656704" y="2057400"/>
              <a:ext cx="582296" cy="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F3953C72-0317-480E-9DE2-218745B70268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87087" y="4444409"/>
              <a:ext cx="2133600" cy="0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3">
              <a:schemeClr val="accent3"/>
            </a:lnRef>
            <a:fillRef idx="0">
              <a:schemeClr val="accent3"/>
            </a:fillRef>
            <a:effectRef idx="2">
              <a:schemeClr val="accent3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419032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CC8D51-5B81-4427-8368-374905FFCA51}" type="slidenum">
              <a:rPr kumimoji="0" lang="en-US" altLang="th-TH" sz="10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altLang="th-TH" sz="10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graphicFrame>
        <p:nvGraphicFramePr>
          <p:cNvPr id="6" name="Group 271"/>
          <p:cNvGraphicFramePr>
            <a:graphicFrameLocks noGrp="1"/>
          </p:cNvGraphicFramePr>
          <p:nvPr>
            <p:ph/>
            <p:extLst>
              <p:ext uri="{D42A27DB-BD31-4B8C-83A1-F6EECF244321}">
                <p14:modId xmlns:p14="http://schemas.microsoft.com/office/powerpoint/2010/main" val="3168774876"/>
              </p:ext>
            </p:extLst>
          </p:nvPr>
        </p:nvGraphicFramePr>
        <p:xfrm>
          <a:off x="230739" y="914400"/>
          <a:ext cx="8775575" cy="4789025"/>
        </p:xfrm>
        <a:graphic>
          <a:graphicData uri="http://schemas.openxmlformats.org/drawingml/2006/table">
            <a:tbl>
              <a:tblPr>
                <a:tableStyleId>{5DA37D80-6434-44D0-A028-1B22A696006F}</a:tableStyleId>
              </a:tblPr>
              <a:tblGrid>
                <a:gridCol w="21096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6658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5151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ระเด็นการประเมิน</a:t>
                      </a:r>
                      <a:endParaRPr kumimoji="0" lang="th-T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26" marR="91426" marT="45702" marB="45702" anchor="ctr" horzOverflow="overflow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1600" b="1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ตัวชี้วัด</a:t>
                      </a:r>
                      <a:endParaRPr kumimoji="0" lang="th-TH" sz="1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26" marR="91426" marT="45702" marB="45702" anchor="ctr" horzOverflow="overflow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151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1600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. </a:t>
                      </a:r>
                      <a:r>
                        <a:rPr kumimoji="0" lang="en-US" sz="1600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Function Base  </a:t>
                      </a:r>
                      <a:endParaRPr kumimoji="0" lang="th-TH" sz="1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26" marR="91426" marT="45702" marB="45702" horzOverflow="overflow"/>
                </a:tc>
                <a:tc>
                  <a:txBody>
                    <a:bodyPr/>
                    <a:lstStyle/>
                    <a:p>
                      <a:pPr marL="354013" marR="0" lvl="0" indent="-3540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.1 </a:t>
                      </a:r>
                      <a:r>
                        <a:rPr kumimoji="0" lang="th-TH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ร้อยละของ</a:t>
                      </a:r>
                      <a:r>
                        <a:rPr kumimoji="0" lang="th-TH" sz="1600" b="1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ถานประกอบกิจการพลังงาน</a:t>
                      </a:r>
                      <a:r>
                        <a:rPr kumimoji="0" lang="th-TH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ที่ได้รับการตรวจสอบมีความ ปลอดภัยและปฏิบัติตามมาตรฐานของกรมธุรกิจพลังงาน</a:t>
                      </a:r>
                      <a:endParaRPr kumimoji="0" lang="en-US" sz="1600" u="none" strike="noStrike" cap="none" normalizeH="0" baseline="0" dirty="0" smtClean="0">
                        <a:ln>
                          <a:noFill/>
                        </a:ln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26" marR="91426" marT="45702" marB="45702" horzOverflow="overflow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9951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. </a:t>
                      </a: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genda Base</a:t>
                      </a:r>
                      <a:endParaRPr kumimoji="0" lang="th-TH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26" marR="91426" marT="45702" marB="45702" horzOverflow="overflow"/>
                </a:tc>
                <a:tc>
                  <a:txBody>
                    <a:bodyPr/>
                    <a:lstStyle/>
                    <a:p>
                      <a:pPr marL="354013" marR="0" lvl="0" indent="-35401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th-TH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.1  ระดับความสำเร็จของการประชาสัมพันธ์ข้อมูลด้านพลังงาน โครงการเพิ่มประสิทธิภาพศูนย์บริการข้อมูลด้านการอนุรักษ์พลังงานและพลังงานทดแทนเคลื่อนที่ (</a:t>
                      </a:r>
                      <a:r>
                        <a:rPr kumimoji="0" lang="en-US" sz="1600" b="1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nergy Mobile Unit</a:t>
                      </a: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</a:t>
                      </a:r>
                    </a:p>
                  </a:txBody>
                  <a:tcPr marL="91427" marR="91427" marT="45693" marB="45693" horzOverflow="overflow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1107">
                <a:tc rowSpan="4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h-TH" sz="1600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 </a:t>
                      </a:r>
                      <a:r>
                        <a:rPr kumimoji="0" lang="en-US" sz="1600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rea Based</a:t>
                      </a:r>
                      <a:endParaRPr kumimoji="0" lang="th-TH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26" marR="91426" marT="45702" marB="45702" horzOverflow="overflow"/>
                </a:tc>
                <a:tc>
                  <a:txBody>
                    <a:bodyPr/>
                    <a:lstStyle/>
                    <a:p>
                      <a:pPr marL="268288" marR="0" lvl="0" indent="-268288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h-TH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1  ระดับความสำเร็จของการจัดทำ</a:t>
                      </a:r>
                      <a:r>
                        <a:rPr kumimoji="0" lang="th-TH" sz="1600" b="1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แผนพลังงานชุมชน</a:t>
                      </a:r>
                      <a:r>
                        <a:rPr kumimoji="0" lang="th-TH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ี 2561 </a:t>
                      </a:r>
                    </a:p>
                    <a:p>
                      <a:pPr marL="268288" marR="0" lvl="0" indent="8572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h-TH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ชุมชนเก่า ประหยัดไฟฟ้าปี 2561)</a:t>
                      </a:r>
                      <a:endParaRPr kumimoji="0" lang="th-TH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27" marR="91427" marT="45693" marB="45693" horzOverflow="overflow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5150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th-TH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91426" marR="91426" marT="45702" marB="457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h-TH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2  ระดับความสำเร็จของการส่งเสริม</a:t>
                      </a:r>
                      <a:r>
                        <a:rPr kumimoji="0" lang="th-TH" sz="1600" b="1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ระบบอบแห้งแสงอาทิตย์ </a:t>
                      </a:r>
                      <a:r>
                        <a:rPr kumimoji="0" lang="th-TH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0 แห่ง </a:t>
                      </a: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/>
                      </a:r>
                      <a:b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</a:b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 </a:t>
                      </a:r>
                      <a:r>
                        <a:rPr kumimoji="0" lang="th-TH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งบอุดหนุน 70-30)</a:t>
                      </a:r>
                      <a:endParaRPr kumimoji="0" lang="th-TH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27" marR="91427" marT="45693" marB="45693" horzOverflow="overflow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1504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th-TH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91426" marR="91426" marT="45702" marB="457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h-TH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3  ระดับความสำเร็จของการจัดทำ </a:t>
                      </a:r>
                      <a:r>
                        <a:rPr kumimoji="0" lang="th-TH" sz="1600" b="1" u="sng" strike="noStrike" cap="none" normalizeH="0" baseline="0" dirty="0" err="1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อปท</a:t>
                      </a:r>
                      <a:r>
                        <a:rPr kumimoji="0" lang="th-TH" sz="1600" b="1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 บริหารจัดการพลังงาน</a:t>
                      </a:r>
                      <a:r>
                        <a:rPr kumimoji="0" lang="th-TH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ที่ดี 2562 </a:t>
                      </a: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/>
                      </a:r>
                      <a:b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</a:br>
                      <a:r>
                        <a:rPr kumimoji="0" lang="en-US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   </a:t>
                      </a:r>
                      <a:r>
                        <a:rPr kumimoji="0" lang="th-TH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(ชุมชนสมัครใหม่)</a:t>
                      </a:r>
                      <a:endParaRPr kumimoji="0" lang="th-TH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27" marR="91427" marT="45693" marB="45693" horzOverflow="overflow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3488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th-TH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ahoma" pitchFamily="34" charset="0"/>
                      </a:endParaRPr>
                    </a:p>
                  </a:txBody>
                  <a:tcPr marL="91426" marR="91426" marT="45702" marB="4570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h-TH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4  ระดับความสำเร็จของการจัดทำ</a:t>
                      </a:r>
                      <a:r>
                        <a:rPr kumimoji="0" lang="th-TH" sz="1600" b="1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โรงเรียนพลังงานชุมชน</a:t>
                      </a:r>
                      <a:endParaRPr kumimoji="0" lang="th-TH" sz="16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27" marR="91427" marT="45693" marB="45693" horzOverflow="overflow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151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. Innovation </a:t>
                      </a:r>
                      <a:br>
                        <a:rPr kumimoji="0" lang="en-US" sz="1600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</a:br>
                      <a:r>
                        <a:rPr kumimoji="0" lang="en-US" sz="1600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   Base</a:t>
                      </a:r>
                      <a:endParaRPr kumimoji="0" lang="en-US" sz="1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26" marR="91426" marT="45702" marB="45702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th-TH" sz="16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.1  ความสำเร็จของการ</a:t>
                      </a:r>
                      <a:r>
                        <a:rPr kumimoji="0" lang="th-TH" sz="1600" b="1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ลดพลังงาน</a:t>
                      </a:r>
                      <a:r>
                        <a:rPr kumimoji="0" lang="en-US" sz="1600" b="1" u="sng" strike="noStrike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EUI)</a:t>
                      </a:r>
                      <a:endParaRPr kumimoji="0" lang="th-TH" sz="1600" b="1" i="0" u="sng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27" marR="91427" marT="45693" marB="45693" horzOverflow="overflow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06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u="none" strike="noStrike" kern="1200" cap="none" normalizeH="0" baseline="0" dirty="0" smtClean="0">
                          <a:ln>
                            <a:noFill/>
                          </a:ln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. Potential Base</a:t>
                      </a:r>
                      <a:endParaRPr kumimoji="0" lang="th-TH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26" marR="91426" marT="45702" marB="45702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h-TH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.1  ระดับความสำเร็จของการจัดทำ</a:t>
                      </a:r>
                      <a:r>
                        <a:rPr lang="th-TH" sz="1600" b="1" u="sng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แผนปฏิบัติการด้านพลังงาน</a:t>
                      </a:r>
                      <a:r>
                        <a:rPr lang="th-TH" sz="1600" b="0" u="none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ระดับจังหวัด</a:t>
                      </a:r>
                      <a:endParaRPr lang="th-TH" sz="1600" b="0" u="none" dirty="0" smtClean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27" marR="91427" marT="45693" marB="45693" horzOverflow="overflow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7" name="Rectangle 6"/>
          <p:cNvSpPr/>
          <p:nvPr/>
        </p:nvSpPr>
        <p:spPr>
          <a:xfrm>
            <a:off x="152400" y="228600"/>
            <a:ext cx="52020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th-TH" sz="2000" b="1" dirty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ตัวชี้วัดสำนักงานพลังงาน</a:t>
            </a:r>
            <a:r>
              <a:rPr lang="th-TH" sz="2000" b="1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จังหวัด</a:t>
            </a:r>
            <a:r>
              <a:rPr lang="en-US" sz="2000" b="1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th-TH" sz="2000" b="1" dirty="0" smtClean="0">
                <a:solidFill>
                  <a:schemeClr val="tx1"/>
                </a:solidFill>
                <a:latin typeface="Tahoma" pitchFamily="34" charset="0"/>
                <a:cs typeface="Tahoma" pitchFamily="34" charset="0"/>
              </a:rPr>
              <a:t>พ.ศ. 2562</a:t>
            </a:r>
            <a:endParaRPr lang="th-TH" sz="2000" b="1" dirty="0">
              <a:solidFill>
                <a:schemeClr val="tx1"/>
              </a:solidFill>
              <a:latin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50817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CC8D51-5B81-4427-8368-374905FFCA51}" type="slidenum">
              <a:rPr kumimoji="0" lang="en-US" altLang="th-TH" sz="10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altLang="th-TH" sz="10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5" name="Title 369"/>
          <p:cNvSpPr>
            <a:spLocks noGrp="1"/>
          </p:cNvSpPr>
          <p:nvPr>
            <p:ph type="title"/>
          </p:nvPr>
        </p:nvSpPr>
        <p:spPr>
          <a:xfrm>
            <a:off x="243848" y="37460"/>
            <a:ext cx="8900151" cy="511220"/>
          </a:xfrm>
          <a:noFill/>
          <a:ln>
            <a:noFill/>
          </a:ln>
        </p:spPr>
        <p:txBody>
          <a:bodyPr anchor="ctr"/>
          <a:lstStyle/>
          <a:p>
            <a:pPr marL="342900" lvl="0" indent="-342900">
              <a:spcBef>
                <a:spcPct val="50000"/>
              </a:spcBef>
              <a:tabLst>
                <a:tab pos="990600" algn="l"/>
                <a:tab pos="1890713" algn="l"/>
              </a:tabLst>
              <a:defRPr/>
            </a:pPr>
            <a:r>
              <a:rPr lang="th-TH" sz="2000" kern="500" dirty="0">
                <a:solidFill>
                  <a:schemeClr val="tx1"/>
                </a:solidFill>
              </a:rPr>
              <a:t>ภารกิจสำนักงานพลังงานจังหวัด</a:t>
            </a:r>
            <a:endParaRPr lang="th-TH" sz="2000" b="1" kern="500" dirty="0">
              <a:solidFill>
                <a:schemeClr val="tx1"/>
              </a:solidFill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>
          <a:xfrm>
            <a:off x="395536" y="685800"/>
            <a:ext cx="8610778" cy="557057"/>
          </a:xfrm>
        </p:spPr>
        <p:txBody>
          <a:bodyPr/>
          <a:lstStyle/>
          <a:p>
            <a:pPr marL="0" indent="0">
              <a:buNone/>
            </a:pPr>
            <a:r>
              <a:rPr lang="th-TH" sz="1800" dirty="0" smtClean="0"/>
              <a:t>ประเด็นที่เกี่ยวข้องกับสำนักงานปลัดกระทรวงพลังงาน</a:t>
            </a:r>
            <a:endParaRPr lang="th-TH" sz="1800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D55C91E0-F00F-41F5-9C22-EECD6DC752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7421672"/>
              </p:ext>
            </p:extLst>
          </p:nvPr>
        </p:nvGraphicFramePr>
        <p:xfrm>
          <a:off x="391525" y="1143000"/>
          <a:ext cx="8456813" cy="5283200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589675">
                  <a:extLst>
                    <a:ext uri="{9D8B030D-6E8A-4147-A177-3AD203B41FA5}">
                      <a16:colId xmlns:a16="http://schemas.microsoft.com/office/drawing/2014/main" val="1754819886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2288758583"/>
                    </a:ext>
                  </a:extLst>
                </a:gridCol>
                <a:gridCol w="4953000">
                  <a:extLst>
                    <a:ext uri="{9D8B030D-6E8A-4147-A177-3AD203B41FA5}">
                      <a16:colId xmlns:a16="http://schemas.microsoft.com/office/drawing/2014/main" val="3119779899"/>
                    </a:ext>
                  </a:extLst>
                </a:gridCol>
                <a:gridCol w="1533138">
                  <a:extLst>
                    <a:ext uri="{9D8B030D-6E8A-4147-A177-3AD203B41FA5}">
                      <a16:colId xmlns:a16="http://schemas.microsoft.com/office/drawing/2014/main" val="3921964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th-TH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ระเด็น</a:t>
                      </a:r>
                      <a:endParaRPr lang="en-US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อำนาจหน้าที่ </a:t>
                      </a:r>
                      <a:r>
                        <a:rPr lang="th-TH" sz="16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พ</a:t>
                      </a: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จ. ตามกฎกระทรวง</a:t>
                      </a:r>
                      <a:endParaRPr lang="en-US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รมที่เกี่ยวข้อง</a:t>
                      </a:r>
                      <a:endParaRPr lang="en-US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1545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ื่อสารและประสานงาน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Font typeface="+mj-lt"/>
                        <a:buNone/>
                      </a:pP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.</a:t>
                      </a:r>
                      <a:endParaRPr lang="th-TH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buFont typeface="+mj-lt"/>
                        <a:buNone/>
                      </a:pP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ระสานงานและปฏิบัติหน้าที่ในฐานะผู้แทนของกระทรวงในส่วนภูมิภาครวมทั้งประสาน และสนับสนุนการปฏิบัติงานด้านพลังงาน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ป.พน.</a:t>
                      </a:r>
                      <a:endParaRPr lang="en-US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0329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ความปลอดภัย</a:t>
                      </a:r>
                      <a:b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</a:b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น้ำมัน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ํากับดูแล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และส่งเสริม</a:t>
                      </a: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ารดําเนินงาน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ด้านความปลอดภัยและสิ่งแวดล้อมของกิจการน้ำมันเชื้อเพลิง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ธพ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183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คุณภาพน้ำมัน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ํากับดูแล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คุณภาพ การค้า และการ</a:t>
                      </a: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ํารอง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น้ำมันเชื้อเพลิง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ธพ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42683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่งเสริม</a:t>
                      </a:r>
                      <a:r>
                        <a:rPr lang="th-TH" sz="1600" b="1" baseline="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E</a:t>
                      </a:r>
                      <a:r>
                        <a:rPr lang="th-TH" sz="1600" b="1" baseline="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E</a:t>
                      </a:r>
                      <a:endParaRPr lang="th-TH" sz="1600" b="1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่งเสริมและพัฒนาพลังงานทดแทนและการอนุรักษ์พลังงาน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พพ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 / สป.พน.</a:t>
                      </a: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/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.</a:t>
                      </a: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ท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อ.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276839"/>
                  </a:ext>
                </a:extLst>
              </a:tr>
              <a:tr h="187960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ำรวจขุดเจาะ</a:t>
                      </a:r>
                      <a:b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</a:b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ิโตรเลียม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ระสานและ</a:t>
                      </a: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อํานว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ยความสะดวกใน</a:t>
                      </a: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ารสํารวจ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และผลิตเชื้อเพลิงธรรมชาติ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ชธ.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0207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ขับเคลื่อนยุทธศาสตร์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จัดทำ เสนอแนะ และประสานแผนพัฒนาพลังงานในระดับจังหวัด รวมทั้ง  ประสานการพัฒนา และประเมินผล</a:t>
                      </a: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ารดําเนินงาน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ตามแผนดังกล่าว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ป.พน.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38076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เครือข่าย/</a:t>
                      </a:r>
                      <a:r>
                        <a:rPr lang="en-US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</a:t>
                      </a:r>
                      <a:endParaRPr lang="th-TH" sz="1600" b="1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่งเสริมการมีส่วนร่วมของทุกภาคส่วนในงานด้านพลังงาน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ป.พน.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68676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อื่น</a:t>
                      </a:r>
                      <a:r>
                        <a:rPr lang="th-TH" sz="1600" b="1" baseline="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ๆ </a:t>
                      </a:r>
                      <a:endParaRPr lang="th-TH" sz="1600" b="1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ฏิบัติงานร่วมกับหรือสนับสนุนการปฏิบัติงานของหน่วยงานอื่นที่เกี่ยวข้อง หรือที่ได้รับมอบหมาย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ทุกกรม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226118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828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CC8D51-5B81-4427-8368-374905FFCA51}" type="slidenum">
              <a:rPr kumimoji="0" lang="en-US" altLang="th-TH" sz="10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altLang="th-TH" sz="10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87896" y="130314"/>
            <a:ext cx="3317304" cy="707886"/>
          </a:xfrm>
          <a:prstGeom prst="rect">
            <a:avLst/>
          </a:prstGeom>
          <a:noFill/>
          <a:ln>
            <a:noFill/>
          </a:ln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การประสานงานระหว่างส่วนกลางและ</a:t>
            </a:r>
            <a:r>
              <a:rPr kumimoji="0" lang="th-TH" sz="2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kumimoji="0" lang="th-TH" sz="2000" b="1" i="0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สพจ</a:t>
            </a:r>
            <a:r>
              <a:rPr kumimoji="0" lang="th-TH" sz="2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.</a:t>
            </a:r>
            <a:r>
              <a:rPr kumimoji="0" lang="th-TH" sz="14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*</a:t>
            </a:r>
            <a:r>
              <a:rPr kumimoji="0" lang="th-TH" sz="20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</a:p>
        </p:txBody>
      </p:sp>
      <p:grpSp>
        <p:nvGrpSpPr>
          <p:cNvPr id="36" name="Group 35"/>
          <p:cNvGrpSpPr/>
          <p:nvPr/>
        </p:nvGrpSpPr>
        <p:grpSpPr>
          <a:xfrm>
            <a:off x="0" y="214290"/>
            <a:ext cx="9144000" cy="6399861"/>
            <a:chOff x="0" y="214290"/>
            <a:chExt cx="9144000" cy="6399861"/>
          </a:xfrm>
        </p:grpSpPr>
        <p:sp>
          <p:nvSpPr>
            <p:cNvPr id="5" name="สี่เหลี่ยมมุมมน 3"/>
            <p:cNvSpPr/>
            <p:nvPr/>
          </p:nvSpPr>
          <p:spPr>
            <a:xfrm>
              <a:off x="3550820" y="214290"/>
              <a:ext cx="2798052" cy="500066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24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กระทรวงพลังงาน</a:t>
              </a:r>
              <a:endPara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6" name="สี่เหลี่ยมมุมมน 4"/>
            <p:cNvSpPr/>
            <p:nvPr/>
          </p:nvSpPr>
          <p:spPr>
            <a:xfrm>
              <a:off x="8072462" y="1357298"/>
              <a:ext cx="1000132" cy="1071570"/>
            </a:xfrm>
            <a:prstGeom prst="roundRect">
              <a:avLst/>
            </a:prstGeom>
            <a:noFill/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กรมเชื้อเพลิงธรรมชาติ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7" name="สี่เหลี่ยมมุมมน 5"/>
            <p:cNvSpPr/>
            <p:nvPr/>
          </p:nvSpPr>
          <p:spPr>
            <a:xfrm>
              <a:off x="7038992" y="1357298"/>
              <a:ext cx="1000132" cy="1071570"/>
            </a:xfrm>
            <a:prstGeom prst="roundRect">
              <a:avLst/>
            </a:prstGeom>
            <a:noFill/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กรมธุรกิจพลังงาน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" name="สี่เหลี่ยมมุมมน 6"/>
            <p:cNvSpPr/>
            <p:nvPr/>
          </p:nvSpPr>
          <p:spPr>
            <a:xfrm>
              <a:off x="5715008" y="1357298"/>
              <a:ext cx="1285884" cy="1071570"/>
            </a:xfrm>
            <a:prstGeom prst="roundRect">
              <a:avLst/>
            </a:prstGeom>
            <a:noFill/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สำนักงานนโยบายและแผนพลังงาน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9" name="สี่เหลี่ยมมุมมน 7"/>
            <p:cNvSpPr/>
            <p:nvPr/>
          </p:nvSpPr>
          <p:spPr>
            <a:xfrm>
              <a:off x="4233860" y="1357298"/>
              <a:ext cx="1428760" cy="1071570"/>
            </a:xfrm>
            <a:prstGeom prst="roundRect">
              <a:avLst/>
            </a:prstGeom>
            <a:noFill/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กรมพัฒนาพลังงานทดแทนและอนุรักษ์พลังงาน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0" name="สี่เหลี่ยมมุมมน 8"/>
            <p:cNvSpPr/>
            <p:nvPr/>
          </p:nvSpPr>
          <p:spPr>
            <a:xfrm>
              <a:off x="142844" y="1357298"/>
              <a:ext cx="2143140" cy="500066"/>
            </a:xfrm>
            <a:prstGeom prst="roundRect">
              <a:avLst/>
            </a:prstGeom>
            <a:ln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สำนักงานปลัดกระทรวง</a:t>
              </a:r>
            </a:p>
          </p:txBody>
        </p:sp>
        <p:sp>
          <p:nvSpPr>
            <p:cNvPr id="11" name="สี่เหลี่ยมมุมมน 12"/>
            <p:cNvSpPr/>
            <p:nvPr/>
          </p:nvSpPr>
          <p:spPr>
            <a:xfrm>
              <a:off x="2417744" y="6042647"/>
              <a:ext cx="1571636" cy="571504"/>
            </a:xfrm>
            <a:prstGeom prst="roundRect">
              <a:avLst/>
            </a:prstGeom>
            <a:solidFill>
              <a:schemeClr val="accent3">
                <a:lumMod val="75000"/>
              </a:schemeClr>
            </a:solidFill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6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สำนักงานพลังงานจังหวัด</a:t>
              </a:r>
            </a:p>
          </p:txBody>
        </p:sp>
        <p:cxnSp>
          <p:nvCxnSpPr>
            <p:cNvPr id="12" name="ตัวเชื่อมต่อหักมุม 14"/>
            <p:cNvCxnSpPr>
              <a:stCxn id="5" idx="2"/>
              <a:endCxn id="10" idx="0"/>
            </p:cNvCxnSpPr>
            <p:nvPr/>
          </p:nvCxnSpPr>
          <p:spPr>
            <a:xfrm rot="5400000">
              <a:off x="2760659" y="-831889"/>
              <a:ext cx="642942" cy="3735432"/>
            </a:xfrm>
            <a:prstGeom prst="bentConnector3">
              <a:avLst>
                <a:gd name="adj1" fmla="val 50000"/>
              </a:avLst>
            </a:prstGeom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3" name="ตัวเชื่อมต่อหักมุม 15"/>
            <p:cNvCxnSpPr>
              <a:stCxn id="5" idx="2"/>
              <a:endCxn id="9" idx="0"/>
            </p:cNvCxnSpPr>
            <p:nvPr/>
          </p:nvCxnSpPr>
          <p:spPr>
            <a:xfrm rot="5400000">
              <a:off x="4627572" y="1035024"/>
              <a:ext cx="642942" cy="1606"/>
            </a:xfrm>
            <a:prstGeom prst="bentConnector3">
              <a:avLst>
                <a:gd name="adj1" fmla="val 50000"/>
              </a:avLst>
            </a:prstGeom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4" name="ตัวเชื่อมต่อหักมุม 18"/>
            <p:cNvCxnSpPr>
              <a:stCxn id="5" idx="2"/>
              <a:endCxn id="8" idx="0"/>
            </p:cNvCxnSpPr>
            <p:nvPr/>
          </p:nvCxnSpPr>
          <p:spPr>
            <a:xfrm rot="16200000" flipH="1">
              <a:off x="5332427" y="331775"/>
              <a:ext cx="642942" cy="1408104"/>
            </a:xfrm>
            <a:prstGeom prst="bentConnector3">
              <a:avLst>
                <a:gd name="adj1" fmla="val 50000"/>
              </a:avLst>
            </a:prstGeom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5" name="ตัวเชื่อมต่อหักมุม 21"/>
            <p:cNvCxnSpPr>
              <a:stCxn id="5" idx="2"/>
              <a:endCxn id="7" idx="0"/>
            </p:cNvCxnSpPr>
            <p:nvPr/>
          </p:nvCxnSpPr>
          <p:spPr>
            <a:xfrm rot="16200000" flipH="1">
              <a:off x="5922981" y="-258779"/>
              <a:ext cx="642942" cy="2589212"/>
            </a:xfrm>
            <a:prstGeom prst="bentConnector3">
              <a:avLst>
                <a:gd name="adj1" fmla="val 50000"/>
              </a:avLst>
            </a:prstGeom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6" name="ตัวเชื่อมต่อหักมุม 24"/>
            <p:cNvCxnSpPr>
              <a:stCxn id="5" idx="2"/>
              <a:endCxn id="6" idx="0"/>
            </p:cNvCxnSpPr>
            <p:nvPr/>
          </p:nvCxnSpPr>
          <p:spPr>
            <a:xfrm rot="16200000" flipH="1">
              <a:off x="6439716" y="-775514"/>
              <a:ext cx="642942" cy="3622682"/>
            </a:xfrm>
            <a:prstGeom prst="bentConnector3">
              <a:avLst>
                <a:gd name="adj1" fmla="val 50000"/>
              </a:avLst>
            </a:prstGeom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7" name="รูปร่าง 35"/>
            <p:cNvCxnSpPr>
              <a:stCxn id="9" idx="2"/>
              <a:endCxn id="11" idx="3"/>
            </p:cNvCxnSpPr>
            <p:nvPr/>
          </p:nvCxnSpPr>
          <p:spPr>
            <a:xfrm rot="5400000">
              <a:off x="2519045" y="3899203"/>
              <a:ext cx="3899531" cy="958860"/>
            </a:xfrm>
            <a:prstGeom prst="bentConnector2">
              <a:avLst/>
            </a:prstGeom>
            <a:ln>
              <a:prstDash val="sysDash"/>
              <a:tailEnd type="arrow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8" name="รูปร่าง 37"/>
            <p:cNvCxnSpPr>
              <a:stCxn id="8" idx="2"/>
              <a:endCxn id="11" idx="3"/>
            </p:cNvCxnSpPr>
            <p:nvPr/>
          </p:nvCxnSpPr>
          <p:spPr>
            <a:xfrm rot="5400000">
              <a:off x="3223900" y="3194348"/>
              <a:ext cx="3899531" cy="2368570"/>
            </a:xfrm>
            <a:prstGeom prst="bentConnector2">
              <a:avLst/>
            </a:prstGeom>
            <a:ln>
              <a:prstDash val="solid"/>
              <a:tailEnd type="arrow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รูปร่าง 40"/>
            <p:cNvCxnSpPr>
              <a:stCxn id="7" idx="2"/>
              <a:endCxn id="11" idx="3"/>
            </p:cNvCxnSpPr>
            <p:nvPr/>
          </p:nvCxnSpPr>
          <p:spPr>
            <a:xfrm rot="5400000">
              <a:off x="3814454" y="2603794"/>
              <a:ext cx="3899531" cy="3549678"/>
            </a:xfrm>
            <a:prstGeom prst="bentConnector2">
              <a:avLst/>
            </a:prstGeom>
            <a:ln w="19050">
              <a:tailEnd type="arrow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0" name="รูปร่าง 47"/>
            <p:cNvCxnSpPr>
              <a:stCxn id="6" idx="2"/>
              <a:endCxn id="11" idx="3"/>
            </p:cNvCxnSpPr>
            <p:nvPr/>
          </p:nvCxnSpPr>
          <p:spPr>
            <a:xfrm rot="5400000">
              <a:off x="4331189" y="2087059"/>
              <a:ext cx="3899531" cy="4583148"/>
            </a:xfrm>
            <a:prstGeom prst="bentConnector2">
              <a:avLst/>
            </a:prstGeom>
            <a:ln w="19050">
              <a:tailEnd type="arrow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1" name="ตัวเชื่อมต่อตรง 53"/>
            <p:cNvCxnSpPr/>
            <p:nvPr/>
          </p:nvCxnSpPr>
          <p:spPr>
            <a:xfrm>
              <a:off x="0" y="3357562"/>
              <a:ext cx="9144000" cy="1588"/>
            </a:xfrm>
            <a:prstGeom prst="line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TextBox 21"/>
            <p:cNvSpPr txBox="1"/>
            <p:nvPr/>
          </p:nvSpPr>
          <p:spPr>
            <a:xfrm>
              <a:off x="8286776" y="3047997"/>
              <a:ext cx="784189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ส่วนกลาง</a:t>
              </a: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8286776" y="3409178"/>
              <a:ext cx="784189" cy="23936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ส่วนภูมิภาค</a:t>
              </a:r>
            </a:p>
          </p:txBody>
        </p:sp>
        <p:sp>
          <p:nvSpPr>
            <p:cNvPr id="25" name="สี่เหลี่ยมมุมมน 12"/>
            <p:cNvSpPr/>
            <p:nvPr/>
          </p:nvSpPr>
          <p:spPr>
            <a:xfrm>
              <a:off x="2408043" y="4907937"/>
              <a:ext cx="1571636" cy="571504"/>
            </a:xfrm>
            <a:prstGeom prst="round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หน่วยงานราชการ</a:t>
              </a:r>
            </a:p>
          </p:txBody>
        </p:sp>
        <p:sp>
          <p:nvSpPr>
            <p:cNvPr id="26" name="สี่เหลี่ยมมุมมน 12"/>
            <p:cNvSpPr/>
            <p:nvPr/>
          </p:nvSpPr>
          <p:spPr>
            <a:xfrm>
              <a:off x="2390528" y="4245721"/>
              <a:ext cx="1571636" cy="571504"/>
            </a:xfrm>
            <a:prstGeom prst="roundRect">
              <a:avLst/>
            </a:prstGeom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ชุมชน/เอกชน</a:t>
              </a:r>
            </a:p>
          </p:txBody>
        </p:sp>
        <p:cxnSp>
          <p:nvCxnSpPr>
            <p:cNvPr id="27" name="รูปร่าง 35"/>
            <p:cNvCxnSpPr>
              <a:stCxn id="10" idx="2"/>
              <a:endCxn id="11" idx="1"/>
            </p:cNvCxnSpPr>
            <p:nvPr/>
          </p:nvCxnSpPr>
          <p:spPr>
            <a:xfrm rot="16200000" flipH="1">
              <a:off x="-419438" y="3491216"/>
              <a:ext cx="4471035" cy="1203330"/>
            </a:xfrm>
            <a:prstGeom prst="bentConnector2">
              <a:avLst/>
            </a:prstGeom>
            <a:ln w="28575">
              <a:tailEnd type="arrow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8" name="สี่เหลี่ยมมุมมน 12"/>
            <p:cNvSpPr/>
            <p:nvPr/>
          </p:nvSpPr>
          <p:spPr>
            <a:xfrm>
              <a:off x="2326928" y="4148604"/>
              <a:ext cx="1724036" cy="1413085"/>
            </a:xfrm>
            <a:prstGeom prst="roundRect">
              <a:avLst/>
            </a:prstGeom>
            <a:noFill/>
            <a:ln/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cxnSp>
          <p:nvCxnSpPr>
            <p:cNvPr id="29" name="Straight Arrow Connector 28"/>
            <p:cNvCxnSpPr>
              <a:endCxn id="28" idx="3"/>
            </p:cNvCxnSpPr>
            <p:nvPr/>
          </p:nvCxnSpPr>
          <p:spPr>
            <a:xfrm flipH="1" flipV="1">
              <a:off x="4050964" y="4855147"/>
              <a:ext cx="4563657" cy="21980"/>
            </a:xfrm>
            <a:prstGeom prst="straightConnector1">
              <a:avLst/>
            </a:prstGeom>
            <a:ln>
              <a:tailEnd type="triangle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sp>
          <p:nvSpPr>
            <p:cNvPr id="30" name="TextBox 29"/>
            <p:cNvSpPr txBox="1"/>
            <p:nvPr/>
          </p:nvSpPr>
          <p:spPr>
            <a:xfrm>
              <a:off x="5130724" y="4178746"/>
              <a:ext cx="3022676" cy="646331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ordia New" panose="020B0304020202020204" pitchFamily="34" charset="-34"/>
                </a:rPr>
                <a:t>หน่วยงานกลางประสานตรงกลุ่มเป้าหมาย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th-TH" b="1" kern="1200" dirty="0">
                  <a:solidFill>
                    <a:prstClr val="black"/>
                  </a:solidFill>
                  <a:latin typeface="Calibri"/>
                  <a:ea typeface="+mn-ea"/>
                  <a:cs typeface="Cordia New" panose="020B0304020202020204" pitchFamily="34" charset="-34"/>
                </a:rPr>
                <a:t>และ</a:t>
              </a:r>
              <a:r>
                <a:rPr kumimoji="0" lang="th-TH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ordia New" panose="020B0304020202020204" pitchFamily="34" charset="-34"/>
                </a:rPr>
                <a:t>สำเนาแจ้ง </a:t>
              </a:r>
              <a:r>
                <a:rPr kumimoji="0" lang="th-TH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ordia New" panose="020B0304020202020204" pitchFamily="34" charset="-34"/>
                </a:rPr>
                <a:t>สพ</a:t>
              </a:r>
              <a:r>
                <a:rPr kumimoji="0" lang="th-TH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ordia New" panose="020B0304020202020204" pitchFamily="34" charset="-34"/>
                </a:rPr>
                <a:t>จ. ทราบด้วย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2400474" y="5635081"/>
              <a:ext cx="761747" cy="369332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Cordia New" panose="020B0304020202020204" pitchFamily="34" charset="-34"/>
                </a:rPr>
                <a:t>ประสาน</a:t>
              </a: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cxnSp>
          <p:nvCxnSpPr>
            <p:cNvPr id="32" name="Straight Arrow Connector 31"/>
            <p:cNvCxnSpPr>
              <a:stCxn id="28" idx="2"/>
              <a:endCxn id="11" idx="0"/>
            </p:cNvCxnSpPr>
            <p:nvPr/>
          </p:nvCxnSpPr>
          <p:spPr>
            <a:xfrm>
              <a:off x="3188946" y="5561689"/>
              <a:ext cx="14616" cy="480958"/>
            </a:xfrm>
            <a:prstGeom prst="straightConnector1">
              <a:avLst/>
            </a:prstGeom>
            <a:ln>
              <a:headEnd type="triangle"/>
              <a:tailEnd type="triangle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34" name="รูปร่าง 35"/>
            <p:cNvCxnSpPr>
              <a:endCxn id="11" idx="1"/>
            </p:cNvCxnSpPr>
            <p:nvPr/>
          </p:nvCxnSpPr>
          <p:spPr>
            <a:xfrm rot="16200000" flipH="1">
              <a:off x="-36046" y="3874609"/>
              <a:ext cx="4471036" cy="436544"/>
            </a:xfrm>
            <a:prstGeom prst="bentConnector2">
              <a:avLst/>
            </a:prstGeom>
            <a:ln>
              <a:prstDash val="sysDash"/>
              <a:tailEnd type="arrow"/>
            </a:ln>
          </p:spPr>
          <p:style>
            <a:lnRef idx="2">
              <a:schemeClr val="accent2"/>
            </a:lnRef>
            <a:fillRef idx="0">
              <a:schemeClr val="accent2"/>
            </a:fillRef>
            <a:effectRef idx="1">
              <a:schemeClr val="accent2"/>
            </a:effectRef>
            <a:fontRef idx="minor">
              <a:schemeClr val="tx1"/>
            </a:fontRef>
          </p:style>
        </p:cxnSp>
        <p:sp>
          <p:nvSpPr>
            <p:cNvPr id="35" name="TextBox 57"/>
            <p:cNvSpPr txBox="1"/>
            <p:nvPr/>
          </p:nvSpPr>
          <p:spPr>
            <a:xfrm>
              <a:off x="354308" y="2842769"/>
              <a:ext cx="3357586" cy="954107"/>
            </a:xfrm>
            <a:prstGeom prst="rect">
              <a:avLst/>
            </a:prstGeom>
            <a:ln>
              <a:solidFill>
                <a:schemeClr val="tx1">
                  <a:lumMod val="75000"/>
                  <a:lumOff val="25000"/>
                </a:schemeClr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ประสาน   - บูรณาการแผนงาน/โครงการ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สนับสนุน  - องค์ความรู้ “พลังงานชุมชน”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             - ยกระดับเครือข่าย/อส.พน.</a:t>
              </a:r>
              <a:br>
                <a:rPr kumimoji="0" lang="th-TH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</a:br>
              <a:r>
                <a:rPr kumimoji="0" lang="th-TH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              - การทำงานบนพื้นที่อ่อนไหว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1398574" y="2024389"/>
              <a:ext cx="1708902" cy="584775"/>
            </a:xfrm>
            <a:prstGeom prst="rect">
              <a:avLst/>
            </a:prstGeom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สำนักงานกองทุนอนุรักษ์ฯ</a:t>
              </a: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37" name="Rectangle 36"/>
          <p:cNvSpPr/>
          <p:nvPr/>
        </p:nvSpPr>
        <p:spPr>
          <a:xfrm>
            <a:off x="4000137" y="6475651"/>
            <a:ext cx="3126177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hangingPunct="1">
              <a:defRPr/>
            </a:pPr>
            <a:r>
              <a:rPr lang="th-TH" sz="1200" kern="12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*ตามข้อเสนอ</a:t>
            </a:r>
            <a:r>
              <a:rPr lang="th-TH" sz="12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ที่</a:t>
            </a:r>
            <a:r>
              <a:rPr lang="th-TH" sz="12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ประชุม </a:t>
            </a:r>
            <a:r>
              <a:rPr lang="th-TH" sz="1200" dirty="0" err="1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คก</a:t>
            </a:r>
            <a:r>
              <a:rPr lang="th-TH" sz="1200" dirty="0" smtClean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ก. </a:t>
            </a:r>
            <a:r>
              <a:rPr lang="en-US" sz="1200" dirty="0">
                <a:solidFill>
                  <a:prstClr val="black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ode of Conduct</a:t>
            </a:r>
            <a:endParaRPr lang="th-TH" sz="1200" kern="1200" dirty="0">
              <a:solidFill>
                <a:prstClr val="black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726933" y="5242155"/>
            <a:ext cx="3456185" cy="556820"/>
            <a:chOff x="1726933" y="5242155"/>
            <a:chExt cx="3456185" cy="556820"/>
          </a:xfrm>
        </p:grpSpPr>
        <p:pic>
          <p:nvPicPr>
            <p:cNvPr id="4098" name="Picture 2" descr="Image result for icon bad mood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08546" y="5324403"/>
              <a:ext cx="474572" cy="4745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2" descr="Image result for icon bad mood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26933" y="5242155"/>
              <a:ext cx="474572" cy="4745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92247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CC8D51-5B81-4427-8368-374905FFCA51}" type="slidenum">
              <a:rPr kumimoji="0" lang="en-US" altLang="th-TH" sz="10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altLang="th-TH" sz="10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5" name="Title 369"/>
          <p:cNvSpPr>
            <a:spLocks noGrp="1"/>
          </p:cNvSpPr>
          <p:nvPr>
            <p:ph type="title"/>
          </p:nvPr>
        </p:nvSpPr>
        <p:spPr>
          <a:xfrm>
            <a:off x="243848" y="37460"/>
            <a:ext cx="8900151" cy="511220"/>
          </a:xfrm>
          <a:noFill/>
          <a:ln>
            <a:noFill/>
          </a:ln>
        </p:spPr>
        <p:txBody>
          <a:bodyPr anchor="ctr"/>
          <a:lstStyle/>
          <a:p>
            <a:pPr marL="342900" lvl="0" indent="-342900">
              <a:spcBef>
                <a:spcPct val="50000"/>
              </a:spcBef>
              <a:tabLst>
                <a:tab pos="990600" algn="l"/>
                <a:tab pos="1890713" algn="l"/>
              </a:tabLst>
              <a:defRPr/>
            </a:pPr>
            <a:r>
              <a:rPr lang="th-TH" sz="2000" kern="500" dirty="0">
                <a:solidFill>
                  <a:schemeClr val="tx1"/>
                </a:solidFill>
              </a:rPr>
              <a:t>ภารกิจสำนักงานพลังงานจังหวัด</a:t>
            </a:r>
            <a:endParaRPr lang="th-TH" sz="2000" b="1" kern="500" dirty="0">
              <a:solidFill>
                <a:schemeClr val="tx1"/>
              </a:solidFill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0A5DF60B-9D88-4347-9E3D-E6D722CEED6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2710411"/>
              </p:ext>
            </p:extLst>
          </p:nvPr>
        </p:nvGraphicFramePr>
        <p:xfrm>
          <a:off x="391525" y="1143000"/>
          <a:ext cx="8456813" cy="5283200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589675">
                  <a:extLst>
                    <a:ext uri="{9D8B030D-6E8A-4147-A177-3AD203B41FA5}">
                      <a16:colId xmlns:a16="http://schemas.microsoft.com/office/drawing/2014/main" val="1754819886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2288758583"/>
                    </a:ext>
                  </a:extLst>
                </a:gridCol>
                <a:gridCol w="4953000">
                  <a:extLst>
                    <a:ext uri="{9D8B030D-6E8A-4147-A177-3AD203B41FA5}">
                      <a16:colId xmlns:a16="http://schemas.microsoft.com/office/drawing/2014/main" val="3119779899"/>
                    </a:ext>
                  </a:extLst>
                </a:gridCol>
                <a:gridCol w="1533138">
                  <a:extLst>
                    <a:ext uri="{9D8B030D-6E8A-4147-A177-3AD203B41FA5}">
                      <a16:colId xmlns:a16="http://schemas.microsoft.com/office/drawing/2014/main" val="3921964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th-TH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ระเด็น</a:t>
                      </a:r>
                      <a:endParaRPr lang="en-US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อำนาจหน้าที่ </a:t>
                      </a:r>
                      <a:r>
                        <a:rPr lang="th-TH" sz="16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พ</a:t>
                      </a: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จ. ตามกฎกระทรวง</a:t>
                      </a:r>
                      <a:endParaRPr lang="en-US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รมที่เกี่ยวข้อง</a:t>
                      </a:r>
                      <a:endParaRPr lang="en-US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1545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ื่อสารและประสานงาน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Font typeface="+mj-lt"/>
                        <a:buNone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buFont typeface="+mj-lt"/>
                        <a:buNone/>
                      </a:pP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ระสานงานและปฏิบัติหน้าที่ในฐานะผู้แทนของกระทรวงในส่วนภูมิภาครวมทั้งประสาน และสนับสนุนการปฏิบัติงานด้านพลังงาน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ป.พน.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0329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ความปลอดภัย</a:t>
                      </a:r>
                      <a:b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</a:b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น้ำมัน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ํากับดูแล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และส่งเสริม</a:t>
                      </a: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ารดําเนินงาน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ด้านความปลอดภัยและสิ่งแวดล้อมของกิจการน้ำมันเชื้อเพลิง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ธพ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183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คุณภาพน้ำมัน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ํากับดูแล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คุณภาพ การค้า และการ</a:t>
                      </a: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ํารอง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น้ำมันเชื้อเพลิง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ธพ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42683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่งเสริม</a:t>
                      </a:r>
                      <a:r>
                        <a:rPr lang="th-TH" sz="1600" b="1" baseline="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E</a:t>
                      </a:r>
                      <a:r>
                        <a:rPr lang="th-TH" sz="1600" b="1" baseline="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E</a:t>
                      </a:r>
                      <a:endParaRPr lang="th-TH" sz="1600" b="1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่งเสริมและพัฒนาพลังงานทดแทนและการอนุรักษ์พลังงาน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พพ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 / สป.พน.</a:t>
                      </a: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/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.</a:t>
                      </a: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ท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อ.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276839"/>
                  </a:ext>
                </a:extLst>
              </a:tr>
              <a:tr h="187960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ำรวจขุดเจาะ</a:t>
                      </a:r>
                      <a:b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</a:b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ิโตรเลียม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ระสานและ</a:t>
                      </a: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อํานว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ยความสะดวกใน</a:t>
                      </a: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ารสํารวจ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และผลิตเชื้อเพลิงธรรมชาติ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ชธ.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0207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ขับเคลื่อนยุทธศาสตร์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endParaRPr lang="th-TH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.</a:t>
                      </a:r>
                      <a:endParaRPr lang="th-TH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จัดทำ เสนอแนะ และประสานแผนพัฒนาพลังงานในระดับจังหวัด รวมทั้ง </a:t>
                      </a:r>
                      <a:r>
                        <a:rPr lang="th-TH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ระสาน</a:t>
                      </a: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าร</a:t>
                      </a:r>
                      <a:r>
                        <a:rPr lang="th-TH" sz="1600" dirty="0" smtClean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พัฒนาและ</a:t>
                      </a: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ระเมินผล</a:t>
                      </a:r>
                      <a:r>
                        <a:rPr lang="th-TH" sz="16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ารดําเนินงาน</a:t>
                      </a: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ตามแผนดังกล่าว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ป.พน.</a:t>
                      </a:r>
                      <a:endParaRPr lang="en-US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38076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เครือข่าย/</a:t>
                      </a:r>
                      <a:r>
                        <a:rPr lang="en-US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</a:t>
                      </a:r>
                      <a:endParaRPr lang="th-TH" sz="1600" b="1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่งเสริมการมีส่วนร่วมของทุกภาคส่วนในงานด้านพลังงาน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ป.พน.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68676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อื่น</a:t>
                      </a:r>
                      <a:r>
                        <a:rPr lang="th-TH" sz="1600" b="1" baseline="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ๆ </a:t>
                      </a:r>
                      <a:endParaRPr lang="th-TH" sz="1600" b="1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ฏิบัติงานร่วมกับหรือสนับสนุนการปฏิบัติงานของหน่วยงานอื่นที่เกี่ยวข้อง หรือที่ได้รับมอบหมาย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ทุกกรม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2261184"/>
                  </a:ext>
                </a:extLst>
              </a:tr>
            </a:tbl>
          </a:graphicData>
        </a:graphic>
      </p:graphicFrame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9" name="Content Placeholder 6"/>
          <p:cNvSpPr txBox="1">
            <a:spLocks/>
          </p:cNvSpPr>
          <p:nvPr/>
        </p:nvSpPr>
        <p:spPr>
          <a:xfrm>
            <a:off x="395536" y="685800"/>
            <a:ext cx="8610778" cy="5570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346620" marR="0" indent="-346620" algn="l" defTabSz="907046" rtl="0" latinLnBrk="0">
              <a:lnSpc>
                <a:spcPct val="12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Tahoma" pitchFamily="34" charset="0"/>
                <a:ea typeface="Tahoma" pitchFamily="34" charset="0"/>
                <a:cs typeface="Tahoma" pitchFamily="34" charset="0"/>
                <a:sym typeface="Arial"/>
              </a:defRPr>
            </a:lvl1pPr>
            <a:lvl2pPr marL="192747" marR="0" indent="-191128" algn="l" defTabSz="907046" rtl="0" latinLnBrk="0">
              <a:lnSpc>
                <a:spcPct val="12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5000"/>
              <a:buFontTx/>
              <a:buChar char="▪"/>
              <a:tabLst/>
              <a:defRPr sz="2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Tahoma" pitchFamily="34" charset="0"/>
                <a:ea typeface="Tahoma" pitchFamily="34" charset="0"/>
                <a:cs typeface="Tahoma" pitchFamily="34" charset="0"/>
                <a:sym typeface="Arial"/>
              </a:defRPr>
            </a:lvl2pPr>
            <a:lvl3pPr marL="461622" marR="0" indent="-262395" algn="l" defTabSz="907046" rtl="0" latinLnBrk="0">
              <a:lnSpc>
                <a:spcPct val="12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Char char="–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Tahoma" pitchFamily="34" charset="0"/>
                <a:ea typeface="Tahoma" pitchFamily="34" charset="0"/>
                <a:cs typeface="Tahoma" pitchFamily="34" charset="0"/>
                <a:sym typeface="Arial"/>
              </a:defRPr>
            </a:lvl3pPr>
            <a:lvl4pPr marL="621975" marR="0" indent="-153875" algn="l" defTabSz="907046" rtl="0" latinLnBrk="0">
              <a:lnSpc>
                <a:spcPct val="12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Char char="▫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Tahoma" pitchFamily="34" charset="0"/>
                <a:ea typeface="Tahoma" pitchFamily="34" charset="0"/>
                <a:cs typeface="Tahoma" pitchFamily="34" charset="0"/>
                <a:sym typeface="Arial"/>
              </a:defRPr>
            </a:lvl4pPr>
            <a:lvl5pPr marL="759651" marR="0" indent="-127959" algn="l" defTabSz="907046" rtl="0" latinLnBrk="0">
              <a:lnSpc>
                <a:spcPct val="12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89000"/>
              <a:buFontTx/>
              <a:buChar char="-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Tahoma" pitchFamily="34" charset="0"/>
                <a:ea typeface="Tahoma" pitchFamily="34" charset="0"/>
                <a:cs typeface="Tahoma" pitchFamily="34" charset="0"/>
                <a:sym typeface="Arial"/>
              </a:defRPr>
            </a:lvl5pPr>
            <a:lvl6pPr marL="763328" marR="0" indent="-13252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89000"/>
              <a:buFontTx/>
              <a:buChar char="-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763328" marR="0" indent="-13252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89000"/>
              <a:buFontTx/>
              <a:buChar char="-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763328" marR="0" indent="-13252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89000"/>
              <a:buFontTx/>
              <a:buChar char="-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763328" marR="0" indent="-13252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89000"/>
              <a:buFontTx/>
              <a:buChar char="-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hangingPunct="1">
              <a:buFontTx/>
              <a:buNone/>
            </a:pPr>
            <a:r>
              <a:rPr lang="th-TH" sz="1800" dirty="0" smtClean="0"/>
              <a:t>ประเด็นที่เกี่ยวข้องกับสำนักงานปลัดกระทรวงพลังงาน (ต่อ)</a:t>
            </a:r>
            <a:endParaRPr lang="th-TH" sz="1800" dirty="0"/>
          </a:p>
        </p:txBody>
      </p:sp>
    </p:spTree>
    <p:extLst>
      <p:ext uri="{BB962C8B-B14F-4D97-AF65-F5344CB8AC3E}">
        <p14:creationId xmlns:p14="http://schemas.microsoft.com/office/powerpoint/2010/main" val="11827988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Title 1"/>
          <p:cNvSpPr>
            <a:spLocks noGrp="1"/>
          </p:cNvSpPr>
          <p:nvPr>
            <p:ph type="title"/>
          </p:nvPr>
        </p:nvSpPr>
        <p:spPr>
          <a:xfrm>
            <a:off x="304800" y="181024"/>
            <a:ext cx="8613929" cy="482774"/>
          </a:xfrm>
          <a:noFill/>
          <a:ln>
            <a:noFill/>
          </a:ln>
        </p:spPr>
        <p:txBody>
          <a:bodyPr>
            <a:noAutofit/>
          </a:bodyPr>
          <a:lstStyle/>
          <a:p>
            <a:r>
              <a:rPr lang="th-TH" sz="2000" dirty="0">
                <a:solidFill>
                  <a:schemeClr val="tx1"/>
                </a:solidFill>
              </a:rPr>
              <a:t>การแปลงนโยบายสู่การปฏิบัติ</a:t>
            </a:r>
          </a:p>
        </p:txBody>
      </p:sp>
      <p:grpSp>
        <p:nvGrpSpPr>
          <p:cNvPr id="91" name="Group 90"/>
          <p:cNvGrpSpPr/>
          <p:nvPr/>
        </p:nvGrpSpPr>
        <p:grpSpPr>
          <a:xfrm>
            <a:off x="900169" y="708937"/>
            <a:ext cx="7513385" cy="6009193"/>
            <a:chOff x="467544" y="711837"/>
            <a:chExt cx="7513385" cy="6009193"/>
          </a:xfrm>
        </p:grpSpPr>
        <p:sp>
          <p:nvSpPr>
            <p:cNvPr id="4" name="ชื่อเรื่อง 1"/>
            <p:cNvSpPr txBox="1">
              <a:spLocks/>
            </p:cNvSpPr>
            <p:nvPr/>
          </p:nvSpPr>
          <p:spPr>
            <a:xfrm>
              <a:off x="467544" y="2758431"/>
              <a:ext cx="1899750" cy="44667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dirty="0">
                  <a:solidFill>
                    <a:schemeClr val="tx1"/>
                  </a:solidFill>
                </a:rPr>
                <a:t>จัดทำยุทธศาสตร์</a:t>
              </a:r>
            </a:p>
            <a:p>
              <a:r>
                <a:rPr lang="th-TH" sz="1200" dirty="0">
                  <a:solidFill>
                    <a:schemeClr val="tx1"/>
                  </a:solidFill>
                </a:rPr>
                <a:t>ระดับกรม</a:t>
              </a:r>
            </a:p>
          </p:txBody>
        </p:sp>
        <p:sp>
          <p:nvSpPr>
            <p:cNvPr id="5" name="ชื่อเรื่อง 1"/>
            <p:cNvSpPr txBox="1">
              <a:spLocks/>
            </p:cNvSpPr>
            <p:nvPr/>
          </p:nvSpPr>
          <p:spPr>
            <a:xfrm>
              <a:off x="2659644" y="4713937"/>
              <a:ext cx="3311114" cy="682799"/>
            </a:xfrm>
            <a:prstGeom prst="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endParaRPr lang="th-TH" sz="1200" dirty="0">
                <a:solidFill>
                  <a:schemeClr val="tx1"/>
                </a:solidFill>
              </a:endParaRPr>
            </a:p>
            <a:p>
              <a:r>
                <a:rPr lang="th-TH" sz="2000" dirty="0" err="1"/>
                <a:t>สพจ.</a:t>
              </a:r>
              <a:endParaRPr lang="th-TH" sz="2000" dirty="0"/>
            </a:p>
          </p:txBody>
        </p:sp>
        <p:sp>
          <p:nvSpPr>
            <p:cNvPr id="6" name="ชื่อเรื่อง 1"/>
            <p:cNvSpPr txBox="1">
              <a:spLocks/>
            </p:cNvSpPr>
            <p:nvPr/>
          </p:nvSpPr>
          <p:spPr>
            <a:xfrm>
              <a:off x="469205" y="4731585"/>
              <a:ext cx="1898089" cy="665150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dirty="0" smtClean="0">
                  <a:solidFill>
                    <a:schemeClr val="tx1"/>
                  </a:solidFill>
                </a:rPr>
                <a:t>เสนอโครงการ</a:t>
              </a:r>
              <a:endParaRPr lang="th-TH" sz="1200" dirty="0">
                <a:solidFill>
                  <a:schemeClr val="tx1"/>
                </a:solidFill>
              </a:endParaRPr>
            </a:p>
            <a:p>
              <a:r>
                <a:rPr lang="th-TH" sz="1200" dirty="0">
                  <a:solidFill>
                    <a:schemeClr val="tx1"/>
                  </a:solidFill>
                </a:rPr>
                <a:t>ตามแผนงานโครงการ</a:t>
              </a:r>
            </a:p>
            <a:p>
              <a:r>
                <a:rPr lang="th-TH" sz="1200" dirty="0">
                  <a:solidFill>
                    <a:schemeClr val="tx1"/>
                  </a:solidFill>
                </a:rPr>
                <a:t>(ระดับ</a:t>
              </a:r>
              <a:r>
                <a:rPr lang="th-TH" sz="1200" dirty="0" smtClean="0">
                  <a:solidFill>
                    <a:schemeClr val="tx1"/>
                  </a:solidFill>
                </a:rPr>
                <a:t>จังหวัด กลุ่มจังหวัด)</a:t>
              </a:r>
              <a:endParaRPr lang="th-TH" sz="1200" dirty="0">
                <a:solidFill>
                  <a:schemeClr val="tx1"/>
                </a:solidFill>
              </a:endParaRPr>
            </a:p>
          </p:txBody>
        </p:sp>
        <p:sp>
          <p:nvSpPr>
            <p:cNvPr id="7" name="ชื่อเรื่อง 1"/>
            <p:cNvSpPr txBox="1">
              <a:spLocks/>
            </p:cNvSpPr>
            <p:nvPr/>
          </p:nvSpPr>
          <p:spPr>
            <a:xfrm>
              <a:off x="469205" y="4099885"/>
              <a:ext cx="1898089" cy="4298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dirty="0">
                  <a:solidFill>
                    <a:schemeClr val="tx1"/>
                  </a:solidFill>
                </a:rPr>
                <a:t>จัดทำงบประมาณโครงการระดับจังหวัด</a:t>
              </a:r>
            </a:p>
          </p:txBody>
        </p:sp>
        <p:sp>
          <p:nvSpPr>
            <p:cNvPr id="8" name="ชื่อเรื่อง 1"/>
            <p:cNvSpPr txBox="1">
              <a:spLocks/>
            </p:cNvSpPr>
            <p:nvPr/>
          </p:nvSpPr>
          <p:spPr>
            <a:xfrm>
              <a:off x="467544" y="3436275"/>
              <a:ext cx="1899750" cy="45308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dirty="0">
                  <a:solidFill>
                    <a:schemeClr val="tx1"/>
                  </a:solidFill>
                </a:rPr>
                <a:t>แปลงยุทธศาสตร์</a:t>
              </a:r>
            </a:p>
            <a:p>
              <a:r>
                <a:rPr lang="th-TH" sz="1200" dirty="0">
                  <a:solidFill>
                    <a:schemeClr val="tx1"/>
                  </a:solidFill>
                </a:rPr>
                <a:t>(โครงการระดับจังหวัด)</a:t>
              </a:r>
            </a:p>
          </p:txBody>
        </p:sp>
        <p:sp>
          <p:nvSpPr>
            <p:cNvPr id="9" name="ชื่อเรื่อง 1"/>
            <p:cNvSpPr txBox="1">
              <a:spLocks/>
            </p:cNvSpPr>
            <p:nvPr/>
          </p:nvSpPr>
          <p:spPr>
            <a:xfrm>
              <a:off x="467544" y="1409347"/>
              <a:ext cx="1899750" cy="45944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dirty="0">
                  <a:solidFill>
                    <a:schemeClr val="tx1"/>
                  </a:solidFill>
                </a:rPr>
                <a:t>กำหนดนโยบาย</a:t>
              </a:r>
            </a:p>
            <a:p>
              <a:r>
                <a:rPr lang="th-TH" sz="1200" dirty="0">
                  <a:solidFill>
                    <a:schemeClr val="tx1"/>
                  </a:solidFill>
                </a:rPr>
                <a:t>ระดับประเทศ</a:t>
              </a:r>
            </a:p>
          </p:txBody>
        </p:sp>
        <p:sp>
          <p:nvSpPr>
            <p:cNvPr id="10" name="ชื่อเรื่อง 1"/>
            <p:cNvSpPr txBox="1">
              <a:spLocks/>
            </p:cNvSpPr>
            <p:nvPr/>
          </p:nvSpPr>
          <p:spPr>
            <a:xfrm>
              <a:off x="2659642" y="1052736"/>
              <a:ext cx="1407428" cy="267458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b="1" dirty="0">
                  <a:solidFill>
                    <a:schemeClr val="tx1"/>
                  </a:solidFill>
                </a:rPr>
                <a:t>หน่วยงาน</a:t>
              </a:r>
            </a:p>
          </p:txBody>
        </p:sp>
        <p:sp>
          <p:nvSpPr>
            <p:cNvPr id="11" name="ชื่อเรื่อง 1"/>
            <p:cNvSpPr txBox="1">
              <a:spLocks/>
            </p:cNvSpPr>
            <p:nvPr/>
          </p:nvSpPr>
          <p:spPr>
            <a:xfrm>
              <a:off x="2661303" y="3436275"/>
              <a:ext cx="1398155" cy="1078757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 anchorCtr="0"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dirty="0" err="1">
                  <a:solidFill>
                    <a:schemeClr val="tx1"/>
                  </a:solidFill>
                </a:rPr>
                <a:t>กยผ</a:t>
              </a:r>
              <a:r>
                <a:rPr lang="th-TH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12" name="ลูกศรขึ้น 35"/>
            <p:cNvSpPr/>
            <p:nvPr/>
          </p:nvSpPr>
          <p:spPr bwMode="auto">
            <a:xfrm rot="10800000">
              <a:off x="3247651" y="1893919"/>
              <a:ext cx="259461" cy="169684"/>
            </a:xfrm>
            <a:prstGeom prst="upArrow">
              <a:avLst/>
            </a:prstGeom>
            <a:solidFill>
              <a:schemeClr val="accent2">
                <a:lumMod val="40000"/>
                <a:lumOff val="60000"/>
              </a:schemeClr>
            </a:solidFill>
            <a:ln w="317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3" name="ชื่อเรื่อง 1"/>
            <p:cNvSpPr txBox="1">
              <a:spLocks/>
            </p:cNvSpPr>
            <p:nvPr/>
          </p:nvSpPr>
          <p:spPr>
            <a:xfrm>
              <a:off x="2659644" y="1409347"/>
              <a:ext cx="1399816" cy="450211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 anchorCtr="0"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dirty="0" err="1">
                  <a:solidFill>
                    <a:schemeClr val="tx1"/>
                  </a:solidFill>
                </a:rPr>
                <a:t>สนพ</a:t>
              </a:r>
              <a:r>
                <a:rPr lang="th-TH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14" name="ชื่อเรื่อง 1"/>
            <p:cNvSpPr txBox="1">
              <a:spLocks/>
            </p:cNvSpPr>
            <p:nvPr/>
          </p:nvSpPr>
          <p:spPr>
            <a:xfrm>
              <a:off x="469205" y="1052736"/>
              <a:ext cx="1898089" cy="267458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b="1" dirty="0"/>
                <a:t>ขั้นตอน</a:t>
              </a:r>
            </a:p>
          </p:txBody>
        </p:sp>
        <p:sp>
          <p:nvSpPr>
            <p:cNvPr id="16" name="ชื่อเรื่อง 1"/>
            <p:cNvSpPr txBox="1">
              <a:spLocks/>
            </p:cNvSpPr>
            <p:nvPr/>
          </p:nvSpPr>
          <p:spPr>
            <a:xfrm>
              <a:off x="467544" y="5623563"/>
              <a:ext cx="1899750" cy="33257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dirty="0">
                  <a:solidFill>
                    <a:schemeClr val="tx1"/>
                  </a:solidFill>
                </a:rPr>
                <a:t>ติดตามประเมินผล</a:t>
              </a:r>
            </a:p>
          </p:txBody>
        </p:sp>
        <p:sp>
          <p:nvSpPr>
            <p:cNvPr id="17" name="ชื่อเรื่อง 1"/>
            <p:cNvSpPr txBox="1">
              <a:spLocks/>
            </p:cNvSpPr>
            <p:nvPr/>
          </p:nvSpPr>
          <p:spPr>
            <a:xfrm>
              <a:off x="467544" y="6196861"/>
              <a:ext cx="1899750" cy="47249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dirty="0">
                  <a:solidFill>
                    <a:schemeClr val="tx1"/>
                  </a:solidFill>
                </a:rPr>
                <a:t>ตรวจติดตามตามแผนการตรวจราชการ</a:t>
              </a:r>
            </a:p>
          </p:txBody>
        </p:sp>
        <p:sp>
          <p:nvSpPr>
            <p:cNvPr id="18" name="ชื่อเรื่อง 1"/>
            <p:cNvSpPr txBox="1">
              <a:spLocks/>
            </p:cNvSpPr>
            <p:nvPr/>
          </p:nvSpPr>
          <p:spPr>
            <a:xfrm>
              <a:off x="2659644" y="5662990"/>
              <a:ext cx="1399816" cy="356611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 anchorCtr="0"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dirty="0" err="1">
                  <a:solidFill>
                    <a:schemeClr val="tx1"/>
                  </a:solidFill>
                </a:rPr>
                <a:t>กยผ</a:t>
              </a:r>
              <a:r>
                <a:rPr lang="th-TH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19" name="ชื่อเรื่อง 1"/>
            <p:cNvSpPr txBox="1">
              <a:spLocks/>
            </p:cNvSpPr>
            <p:nvPr/>
          </p:nvSpPr>
          <p:spPr>
            <a:xfrm>
              <a:off x="2661302" y="6275266"/>
              <a:ext cx="1398156" cy="445764"/>
            </a:xfrm>
            <a:prstGeom prst="rect">
              <a:avLst/>
            </a:prstGeom>
            <a:ln w="3175"/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 anchorCtr="0"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dirty="0">
                  <a:solidFill>
                    <a:schemeClr val="tx1"/>
                  </a:solidFill>
                </a:rPr>
                <a:t>ผตร./ กตร.</a:t>
              </a:r>
            </a:p>
          </p:txBody>
        </p:sp>
        <p:sp>
          <p:nvSpPr>
            <p:cNvPr id="20" name="ชื่อเรื่อง 1"/>
            <p:cNvSpPr txBox="1">
              <a:spLocks/>
            </p:cNvSpPr>
            <p:nvPr/>
          </p:nvSpPr>
          <p:spPr>
            <a:xfrm>
              <a:off x="467544" y="2078888"/>
              <a:ext cx="1899750" cy="48944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dirty="0">
                  <a:solidFill>
                    <a:schemeClr val="tx1"/>
                  </a:solidFill>
                </a:rPr>
                <a:t>จัดทำยุทธศาสตร์</a:t>
              </a:r>
            </a:p>
            <a:p>
              <a:r>
                <a:rPr lang="th-TH" sz="1200" dirty="0">
                  <a:solidFill>
                    <a:schemeClr val="tx1"/>
                  </a:solidFill>
                </a:rPr>
                <a:t>ระดับกระทรวง</a:t>
              </a:r>
            </a:p>
          </p:txBody>
        </p:sp>
        <p:sp>
          <p:nvSpPr>
            <p:cNvPr id="21" name="ลูกศรขึ้น 40"/>
            <p:cNvSpPr/>
            <p:nvPr/>
          </p:nvSpPr>
          <p:spPr bwMode="auto">
            <a:xfrm rot="10800000">
              <a:off x="1403213" y="2568333"/>
              <a:ext cx="222137" cy="193281"/>
            </a:xfrm>
            <a:prstGeom prst="upArrow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2" name="ลูกศรขึ้น 40"/>
            <p:cNvSpPr/>
            <p:nvPr/>
          </p:nvSpPr>
          <p:spPr bwMode="auto">
            <a:xfrm rot="10800000">
              <a:off x="1403214" y="1878399"/>
              <a:ext cx="222137" cy="193281"/>
            </a:xfrm>
            <a:prstGeom prst="upArrow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3" name="ลูกศรขึ้น 40"/>
            <p:cNvSpPr/>
            <p:nvPr/>
          </p:nvSpPr>
          <p:spPr bwMode="auto">
            <a:xfrm rot="10800000">
              <a:off x="1403213" y="3230301"/>
              <a:ext cx="222137" cy="193281"/>
            </a:xfrm>
            <a:prstGeom prst="upArrow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4" name="ลูกศรขึ้น 40"/>
            <p:cNvSpPr/>
            <p:nvPr/>
          </p:nvSpPr>
          <p:spPr bwMode="auto">
            <a:xfrm rot="10800000">
              <a:off x="1403213" y="3905624"/>
              <a:ext cx="222137" cy="193281"/>
            </a:xfrm>
            <a:prstGeom prst="upArrow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5" name="ลูกศรขึ้น 40"/>
            <p:cNvSpPr/>
            <p:nvPr/>
          </p:nvSpPr>
          <p:spPr bwMode="auto">
            <a:xfrm rot="10800000">
              <a:off x="1403213" y="4529693"/>
              <a:ext cx="222137" cy="193281"/>
            </a:xfrm>
            <a:prstGeom prst="upArrow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6" name="ลูกศรขึ้น 40"/>
            <p:cNvSpPr/>
            <p:nvPr/>
          </p:nvSpPr>
          <p:spPr bwMode="auto">
            <a:xfrm rot="10800000">
              <a:off x="1403213" y="5405346"/>
              <a:ext cx="222137" cy="193281"/>
            </a:xfrm>
            <a:prstGeom prst="upArrow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7" name="ลูกศรขึ้น 40"/>
            <p:cNvSpPr/>
            <p:nvPr/>
          </p:nvSpPr>
          <p:spPr bwMode="auto">
            <a:xfrm rot="10800000">
              <a:off x="1403214" y="5979723"/>
              <a:ext cx="222137" cy="193281"/>
            </a:xfrm>
            <a:prstGeom prst="upArrow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8" name="ลูกศรขึ้น 35"/>
            <p:cNvSpPr/>
            <p:nvPr/>
          </p:nvSpPr>
          <p:spPr bwMode="auto">
            <a:xfrm rot="10800000">
              <a:off x="3247651" y="4550106"/>
              <a:ext cx="259461" cy="169684"/>
            </a:xfrm>
            <a:prstGeom prst="upArrow">
              <a:avLst/>
            </a:prstGeom>
            <a:solidFill>
              <a:schemeClr val="accent2">
                <a:lumMod val="40000"/>
                <a:lumOff val="60000"/>
              </a:schemeClr>
            </a:solidFill>
            <a:ln w="317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9" name="ลูกศรขึ้น 35"/>
            <p:cNvSpPr/>
            <p:nvPr/>
          </p:nvSpPr>
          <p:spPr bwMode="auto">
            <a:xfrm rot="10800000">
              <a:off x="3247651" y="5491563"/>
              <a:ext cx="259461" cy="169684"/>
            </a:xfrm>
            <a:prstGeom prst="upArrow">
              <a:avLst/>
            </a:prstGeom>
            <a:solidFill>
              <a:schemeClr val="accent2">
                <a:lumMod val="40000"/>
                <a:lumOff val="60000"/>
              </a:schemeClr>
            </a:solidFill>
            <a:ln w="317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0" name="ลูกศรขึ้น 35"/>
            <p:cNvSpPr/>
            <p:nvPr/>
          </p:nvSpPr>
          <p:spPr bwMode="auto">
            <a:xfrm rot="10800000">
              <a:off x="3247651" y="6075392"/>
              <a:ext cx="259461" cy="169684"/>
            </a:xfrm>
            <a:prstGeom prst="upArrow">
              <a:avLst/>
            </a:prstGeom>
            <a:solidFill>
              <a:schemeClr val="accent2">
                <a:lumMod val="40000"/>
                <a:lumOff val="60000"/>
              </a:schemeClr>
            </a:solidFill>
            <a:ln w="317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64" name="ชื่อเรื่อง 1"/>
            <p:cNvSpPr txBox="1">
              <a:spLocks/>
            </p:cNvSpPr>
            <p:nvPr/>
          </p:nvSpPr>
          <p:spPr>
            <a:xfrm>
              <a:off x="2659642" y="2086849"/>
              <a:ext cx="1398155" cy="1093760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 anchorCtr="0"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dirty="0" err="1">
                  <a:solidFill>
                    <a:schemeClr val="tx1"/>
                  </a:solidFill>
                </a:rPr>
                <a:t>กยผ</a:t>
              </a:r>
              <a:r>
                <a:rPr lang="th-TH" sz="1200" dirty="0">
                  <a:solidFill>
                    <a:schemeClr val="tx1"/>
                  </a:solidFill>
                </a:rPr>
                <a:t>. </a:t>
              </a:r>
            </a:p>
            <a:p>
              <a:r>
                <a:rPr lang="th-TH" sz="1200" dirty="0">
                  <a:solidFill>
                    <a:schemeClr val="tx1"/>
                  </a:solidFill>
                </a:rPr>
                <a:t>(+ทุกกรม)</a:t>
              </a:r>
            </a:p>
            <a:p>
              <a:r>
                <a:rPr lang="th-TH" sz="1200" dirty="0">
                  <a:solidFill>
                    <a:schemeClr val="tx1"/>
                  </a:solidFill>
                </a:rPr>
                <a:t> </a:t>
              </a:r>
            </a:p>
          </p:txBody>
        </p:sp>
        <p:sp>
          <p:nvSpPr>
            <p:cNvPr id="69" name="ลูกศรขึ้น 35"/>
            <p:cNvSpPr/>
            <p:nvPr/>
          </p:nvSpPr>
          <p:spPr bwMode="auto">
            <a:xfrm rot="10800000">
              <a:off x="3225553" y="3205105"/>
              <a:ext cx="259461" cy="169684"/>
            </a:xfrm>
            <a:prstGeom prst="upArrow">
              <a:avLst/>
            </a:prstGeom>
            <a:solidFill>
              <a:schemeClr val="accent2">
                <a:lumMod val="40000"/>
                <a:lumOff val="60000"/>
              </a:schemeClr>
            </a:solidFill>
            <a:ln w="317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74" name="ชื่อเรื่อง 1"/>
            <p:cNvSpPr txBox="1">
              <a:spLocks/>
            </p:cNvSpPr>
            <p:nvPr/>
          </p:nvSpPr>
          <p:spPr>
            <a:xfrm>
              <a:off x="6160457" y="4805676"/>
              <a:ext cx="1507887" cy="60202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tIns="0"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dirty="0">
                  <a:solidFill>
                    <a:schemeClr val="tx1"/>
                  </a:solidFill>
                </a:rPr>
                <a:t>คำขอโครงการ</a:t>
              </a:r>
            </a:p>
            <a:p>
              <a:r>
                <a:rPr lang="th-TH" sz="1200" dirty="0">
                  <a:solidFill>
                    <a:schemeClr val="tx1"/>
                  </a:solidFill>
                </a:rPr>
                <a:t>ความต้องการ</a:t>
              </a:r>
              <a:br>
                <a:rPr lang="th-TH" sz="1200" dirty="0">
                  <a:solidFill>
                    <a:schemeClr val="tx1"/>
                  </a:solidFill>
                </a:rPr>
              </a:br>
              <a:r>
                <a:rPr lang="th-TH" sz="1200" dirty="0">
                  <a:solidFill>
                    <a:schemeClr val="tx1"/>
                  </a:solidFill>
                </a:rPr>
                <a:t>ในพื้นที่ (76 จังหวัด)</a:t>
              </a:r>
            </a:p>
          </p:txBody>
        </p:sp>
        <p:sp>
          <p:nvSpPr>
            <p:cNvPr id="73" name="ชื่อเรื่อง 1"/>
            <p:cNvSpPr txBox="1">
              <a:spLocks/>
            </p:cNvSpPr>
            <p:nvPr/>
          </p:nvSpPr>
          <p:spPr>
            <a:xfrm>
              <a:off x="6101853" y="2373695"/>
              <a:ext cx="1492466" cy="55451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 anchorCtr="0"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dirty="0">
                  <a:solidFill>
                    <a:schemeClr val="tx1"/>
                  </a:solidFill>
                </a:rPr>
                <a:t>จัดทำคำของบ</a:t>
              </a:r>
            </a:p>
            <a:p>
              <a:r>
                <a:rPr lang="th-TH" sz="1200" dirty="0">
                  <a:solidFill>
                    <a:schemeClr val="tx1"/>
                  </a:solidFill>
                </a:rPr>
                <a:t>(76 จังหวัด)</a:t>
              </a:r>
            </a:p>
          </p:txBody>
        </p:sp>
        <p:sp>
          <p:nvSpPr>
            <p:cNvPr id="75" name="ชื่อเรื่อง 1"/>
            <p:cNvSpPr txBox="1">
              <a:spLocks/>
            </p:cNvSpPr>
            <p:nvPr/>
          </p:nvSpPr>
          <p:spPr>
            <a:xfrm>
              <a:off x="6085797" y="3813855"/>
              <a:ext cx="1507887" cy="70819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tIns="144000"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dirty="0">
                  <a:solidFill>
                    <a:schemeClr val="tx1"/>
                  </a:solidFill>
                </a:rPr>
                <a:t>รวบรวมคำขอโครงการ</a:t>
              </a:r>
            </a:p>
            <a:p>
              <a:r>
                <a:rPr lang="th-TH" sz="1200" dirty="0">
                  <a:solidFill>
                    <a:schemeClr val="tx1"/>
                  </a:solidFill>
                </a:rPr>
                <a:t>(76 จังหวัด)</a:t>
              </a:r>
            </a:p>
          </p:txBody>
        </p:sp>
        <p:sp>
          <p:nvSpPr>
            <p:cNvPr id="76" name="ชื่อเรื่อง 1"/>
            <p:cNvSpPr txBox="1">
              <a:spLocks/>
            </p:cNvSpPr>
            <p:nvPr/>
          </p:nvSpPr>
          <p:spPr>
            <a:xfrm>
              <a:off x="6101853" y="3237791"/>
              <a:ext cx="1492466" cy="32087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anchor="ctr" anchorCtr="0"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dirty="0">
                  <a:solidFill>
                    <a:schemeClr val="tx1"/>
                  </a:solidFill>
                </a:rPr>
                <a:t>วิเคราะห์โครงการ</a:t>
              </a:r>
            </a:p>
          </p:txBody>
        </p:sp>
        <p:sp>
          <p:nvSpPr>
            <p:cNvPr id="77" name="ชื่อเรื่อง 1"/>
            <p:cNvSpPr txBox="1">
              <a:spLocks/>
            </p:cNvSpPr>
            <p:nvPr/>
          </p:nvSpPr>
          <p:spPr>
            <a:xfrm>
              <a:off x="6084168" y="1395577"/>
              <a:ext cx="1509450" cy="67695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tIns="0" anchor="ctr" anchorCtr="0"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dirty="0">
                  <a:solidFill>
                    <a:schemeClr val="tx1"/>
                  </a:solidFill>
                </a:rPr>
                <a:t>รวบรวมส่ง สงป.ชี้แจง สงป.</a:t>
              </a:r>
            </a:p>
            <a:p>
              <a:r>
                <a:rPr lang="th-TH" sz="1200" dirty="0">
                  <a:solidFill>
                    <a:schemeClr val="tx1"/>
                  </a:solidFill>
                </a:rPr>
                <a:t>(ภาพรวม สป.พน.)</a:t>
              </a:r>
            </a:p>
          </p:txBody>
        </p:sp>
        <p:sp>
          <p:nvSpPr>
            <p:cNvPr id="78" name="ลูกศรขึ้น 5"/>
            <p:cNvSpPr/>
            <p:nvPr/>
          </p:nvSpPr>
          <p:spPr bwMode="auto">
            <a:xfrm>
              <a:off x="6695598" y="3598030"/>
              <a:ext cx="263754" cy="137109"/>
            </a:xfrm>
            <a:prstGeom prst="upArrow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0" name="ลูกศรขึ้น 28"/>
            <p:cNvSpPr/>
            <p:nvPr/>
          </p:nvSpPr>
          <p:spPr bwMode="auto">
            <a:xfrm>
              <a:off x="6695598" y="2952374"/>
              <a:ext cx="263754" cy="157577"/>
            </a:xfrm>
            <a:prstGeom prst="upArrow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1" name="ลูกศรขึ้น 29"/>
            <p:cNvSpPr/>
            <p:nvPr/>
          </p:nvSpPr>
          <p:spPr bwMode="auto">
            <a:xfrm>
              <a:off x="6695598" y="2117688"/>
              <a:ext cx="263754" cy="157577"/>
            </a:xfrm>
            <a:prstGeom prst="upArrow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2" name="ชื่อเรื่อง 1"/>
            <p:cNvSpPr txBox="1">
              <a:spLocks/>
            </p:cNvSpPr>
            <p:nvPr/>
          </p:nvSpPr>
          <p:spPr>
            <a:xfrm>
              <a:off x="4823661" y="1376216"/>
              <a:ext cx="1094075" cy="3091623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/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 anchorCtr="0"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dirty="0" err="1">
                  <a:solidFill>
                    <a:schemeClr val="tx1"/>
                  </a:solidFill>
                </a:rPr>
                <a:t>กยผ</a:t>
              </a:r>
              <a:r>
                <a:rPr lang="th-TH" sz="1200" dirty="0">
                  <a:solidFill>
                    <a:schemeClr val="tx1"/>
                  </a:solidFill>
                </a:rPr>
                <a:t>.</a:t>
              </a:r>
            </a:p>
          </p:txBody>
        </p:sp>
        <p:sp>
          <p:nvSpPr>
            <p:cNvPr id="84" name="ชื่อเรื่อง 1"/>
            <p:cNvSpPr txBox="1">
              <a:spLocks/>
            </p:cNvSpPr>
            <p:nvPr/>
          </p:nvSpPr>
          <p:spPr>
            <a:xfrm>
              <a:off x="4806489" y="1050657"/>
              <a:ext cx="1128418" cy="267036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/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b="1" dirty="0">
                  <a:solidFill>
                    <a:schemeClr val="tx1"/>
                  </a:solidFill>
                </a:rPr>
                <a:t>หน่วยงาน</a:t>
              </a:r>
            </a:p>
            <a:p>
              <a:endParaRPr lang="th-TH" sz="1200" b="1" dirty="0">
                <a:solidFill>
                  <a:schemeClr val="tx1"/>
                </a:solidFill>
              </a:endParaRPr>
            </a:p>
          </p:txBody>
        </p:sp>
        <p:sp>
          <p:nvSpPr>
            <p:cNvPr id="85" name="ชื่อเรื่อง 1"/>
            <p:cNvSpPr txBox="1">
              <a:spLocks/>
            </p:cNvSpPr>
            <p:nvPr/>
          </p:nvSpPr>
          <p:spPr>
            <a:xfrm>
              <a:off x="6108591" y="1052466"/>
              <a:ext cx="1460603" cy="267036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200" b="1" dirty="0"/>
                <a:t>ขั้นตอน</a:t>
              </a:r>
            </a:p>
          </p:txBody>
        </p:sp>
        <p:sp>
          <p:nvSpPr>
            <p:cNvPr id="87" name="ลูกศรขึ้น 5"/>
            <p:cNvSpPr/>
            <p:nvPr/>
          </p:nvSpPr>
          <p:spPr bwMode="auto">
            <a:xfrm>
              <a:off x="6681229" y="4553857"/>
              <a:ext cx="263754" cy="160080"/>
            </a:xfrm>
            <a:prstGeom prst="upArrow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  <a:headEnd/>
              <a:tailEnd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8" name="ลูกศรขึ้น 35"/>
            <p:cNvSpPr/>
            <p:nvPr/>
          </p:nvSpPr>
          <p:spPr bwMode="auto">
            <a:xfrm>
              <a:off x="5271790" y="4498700"/>
              <a:ext cx="239762" cy="208473"/>
            </a:xfrm>
            <a:prstGeom prst="upArrow">
              <a:avLst/>
            </a:prstGeom>
            <a:solidFill>
              <a:schemeClr val="accent2">
                <a:lumMod val="40000"/>
                <a:lumOff val="60000"/>
              </a:schemeClr>
            </a:solidFill>
            <a:ln w="3175"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marL="266700" indent="-266700" algn="ctr"/>
              <a:endParaRPr lang="th-TH" sz="1200" b="1" dirty="0">
                <a:solidFill>
                  <a:prstClr val="white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89" name="ชื่อเรื่อง 1"/>
            <p:cNvSpPr txBox="1">
              <a:spLocks/>
            </p:cNvSpPr>
            <p:nvPr/>
          </p:nvSpPr>
          <p:spPr>
            <a:xfrm>
              <a:off x="4520375" y="711837"/>
              <a:ext cx="3460554" cy="260692"/>
            </a:xfrm>
            <a:prstGeom prst="rect">
              <a:avLst/>
            </a:prstGeom>
            <a:noFill/>
            <a:ln w="3175"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tIns="0"/>
            <a:lstStyle>
              <a:lvl1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2800" kern="1200">
                  <a:solidFill>
                    <a:schemeClr val="bg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defRPr>
              </a:lvl1pPr>
              <a:lvl2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2pPr>
              <a:lvl3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3pPr>
              <a:lvl4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4pPr>
              <a:lvl5pPr algn="ctr" rtl="0" eaLnBrk="0" fontAlgn="base" hangingPunct="0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  <a:cs typeface="Angsana New" pitchFamily="18" charset="-34"/>
                </a:defRPr>
              </a:lvl5pPr>
              <a:lvl6pPr marL="4572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6pPr>
              <a:lvl7pPr marL="9144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7pPr>
              <a:lvl8pPr marL="13716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8pPr>
              <a:lvl9pPr marL="1828800" algn="ctr" rtl="0" fontAlgn="base">
                <a:spcBef>
                  <a:spcPct val="0"/>
                </a:spcBef>
                <a:spcAft>
                  <a:spcPct val="0"/>
                </a:spcAft>
                <a:defRPr sz="4400">
                  <a:solidFill>
                    <a:schemeClr val="tx1"/>
                  </a:solidFill>
                  <a:latin typeface="Calibri" pitchFamily="34" charset="0"/>
                </a:defRPr>
              </a:lvl9pPr>
            </a:lstStyle>
            <a:p>
              <a:r>
                <a:rPr lang="th-TH" sz="1400" dirty="0" err="1">
                  <a:solidFill>
                    <a:schemeClr val="tx1"/>
                  </a:solidFill>
                </a:rPr>
                <a:t>การจัด</a:t>
              </a:r>
              <a:r>
                <a:rPr lang="th-TH" sz="1400" dirty="0">
                  <a:solidFill>
                    <a:schemeClr val="tx1"/>
                  </a:solidFill>
                </a:rPr>
                <a:t>ทำและ</a:t>
              </a:r>
              <a:r>
                <a:rPr lang="th-TH" sz="1400" b="1" dirty="0">
                  <a:solidFill>
                    <a:schemeClr val="tx1"/>
                  </a:solidFill>
                </a:rPr>
                <a:t>จัดสรรงบประมาณแผ่นดิน</a:t>
              </a:r>
            </a:p>
          </p:txBody>
        </p:sp>
      </p:grpSp>
      <p:sp>
        <p:nvSpPr>
          <p:cNvPr id="46" name="ชื่อเรื่อง 1"/>
          <p:cNvSpPr txBox="1">
            <a:spLocks/>
          </p:cNvSpPr>
          <p:nvPr/>
        </p:nvSpPr>
        <p:spPr>
          <a:xfrm>
            <a:off x="900169" y="708937"/>
            <a:ext cx="3460554" cy="260692"/>
          </a:xfrm>
          <a:prstGeom prst="rect">
            <a:avLst/>
          </a:prstGeom>
          <a:noFill/>
          <a:ln w="3175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tIns="0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2800" kern="120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cs typeface="Angsana New" pitchFamily="18" charset="-34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cs typeface="Angsana New" pitchFamily="18" charset="-34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cs typeface="Angsana New" pitchFamily="18" charset="-34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cs typeface="Angsana New" pitchFamily="18" charset="-34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th-TH" sz="1400" dirty="0" err="1">
                <a:solidFill>
                  <a:schemeClr val="tx1"/>
                </a:solidFill>
              </a:rPr>
              <a:t>การจัด</a:t>
            </a:r>
            <a:r>
              <a:rPr lang="th-TH" sz="1400" dirty="0">
                <a:solidFill>
                  <a:schemeClr val="tx1"/>
                </a:solidFill>
              </a:rPr>
              <a:t>ทำ</a:t>
            </a:r>
            <a:r>
              <a:rPr lang="th-TH" sz="1400" b="1" dirty="0">
                <a:solidFill>
                  <a:schemeClr val="tx1"/>
                </a:solidFill>
              </a:rPr>
              <a:t>ยุทธศาสตร์และแผนงาน</a:t>
            </a:r>
          </a:p>
        </p:txBody>
      </p:sp>
      <p:sp>
        <p:nvSpPr>
          <p:cNvPr id="3" name="5-Point Star 2"/>
          <p:cNvSpPr/>
          <p:nvPr/>
        </p:nvSpPr>
        <p:spPr>
          <a:xfrm>
            <a:off x="750672" y="4590637"/>
            <a:ext cx="353758" cy="353758"/>
          </a:xfrm>
          <a:prstGeom prst="star5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9" name="5-Point Star 48"/>
          <p:cNvSpPr/>
          <p:nvPr/>
        </p:nvSpPr>
        <p:spPr>
          <a:xfrm>
            <a:off x="7816081" y="3732239"/>
            <a:ext cx="353758" cy="353758"/>
          </a:xfrm>
          <a:prstGeom prst="star5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5990" y="4802776"/>
            <a:ext cx="715900" cy="5232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ิงหาคม</a:t>
            </a:r>
          </a:p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ันยายน</a:t>
            </a:r>
            <a:endParaRPr kumimoji="0" lang="en-US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8110858" y="4061844"/>
            <a:ext cx="618116" cy="30777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45719" tIns="45719" rIns="45719" bIns="45719" numCol="1" spcCol="38100" rtlCol="0" anchor="t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ตุลาคม</a:t>
            </a:r>
            <a:endParaRPr kumimoji="0" lang="en-US" sz="1400" b="0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92733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 txBox="1">
            <a:spLocks/>
          </p:cNvSpPr>
          <p:nvPr/>
        </p:nvSpPr>
        <p:spPr bwMode="auto">
          <a:xfrm>
            <a:off x="0" y="0"/>
            <a:ext cx="9161463" cy="442913"/>
          </a:xfrm>
          <a:prstGeom prst="rect">
            <a:avLst/>
          </a:prstGeom>
          <a:noFill/>
          <a:ln>
            <a:noFill/>
          </a:ln>
          <a:extLst/>
        </p:spPr>
        <p:txBody>
          <a:bodyPr lIns="72000" rIns="72000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altLang="th-TH" sz="2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ＭＳ Ｐゴシック"/>
                <a:cs typeface="Tahoma" panose="020B0604030504040204" pitchFamily="34" charset="0"/>
              </a:rPr>
              <a:t> แผนด้านพลังงานระดับพื้นที่</a:t>
            </a:r>
            <a:endParaRPr kumimoji="0" lang="th-TH" altLang="th-TH" sz="20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Tahoma" panose="020B0604030504040204" pitchFamily="34" charset="0"/>
              <a:ea typeface="ＭＳ Ｐゴシック"/>
              <a:cs typeface="Tahoma" panose="020B0604030504040204" pitchFamily="34" charset="0"/>
            </a:endParaRPr>
          </a:p>
        </p:txBody>
      </p:sp>
      <p:grpSp>
        <p:nvGrpSpPr>
          <p:cNvPr id="23" name="Group 22"/>
          <p:cNvGrpSpPr/>
          <p:nvPr/>
        </p:nvGrpSpPr>
        <p:grpSpPr>
          <a:xfrm>
            <a:off x="539683" y="381000"/>
            <a:ext cx="8280789" cy="3039056"/>
            <a:chOff x="467544" y="748928"/>
            <a:chExt cx="8280789" cy="3039056"/>
          </a:xfrm>
        </p:grpSpPr>
        <p:sp>
          <p:nvSpPr>
            <p:cNvPr id="14" name="AutoShape 12" descr="Image result for integration icon"/>
            <p:cNvSpPr>
              <a:spLocks noChangeAspect="1" noChangeArrowheads="1"/>
            </p:cNvSpPr>
            <p:nvPr/>
          </p:nvSpPr>
          <p:spPr bwMode="auto">
            <a:xfrm>
              <a:off x="3491880" y="769937"/>
              <a:ext cx="304800" cy="3048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ＭＳ Ｐゴシック"/>
                <a:cs typeface="+mn-cs"/>
              </a:endParaRPr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611690" y="880405"/>
              <a:ext cx="8136643" cy="2907579"/>
              <a:chOff x="611690" y="880405"/>
              <a:chExt cx="8136643" cy="2907579"/>
            </a:xfrm>
          </p:grpSpPr>
          <p:sp>
            <p:nvSpPr>
              <p:cNvPr id="4" name="L-Shape 3"/>
              <p:cNvSpPr/>
              <p:nvPr/>
            </p:nvSpPr>
            <p:spPr>
              <a:xfrm rot="5400000">
                <a:off x="1117035" y="1760463"/>
                <a:ext cx="1522176" cy="2532866"/>
              </a:xfrm>
              <a:prstGeom prst="corner">
                <a:avLst>
                  <a:gd name="adj1" fmla="val 16120"/>
                  <a:gd name="adj2" fmla="val 16110"/>
                </a:avLst>
              </a:prstGeom>
            </p:spPr>
            <p:style>
              <a:lnRef idx="2">
                <a:schemeClr val="accent2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" name="Freeform 6"/>
              <p:cNvSpPr/>
              <p:nvPr/>
            </p:nvSpPr>
            <p:spPr>
              <a:xfrm>
                <a:off x="862946" y="2517244"/>
                <a:ext cx="2286686" cy="918145"/>
              </a:xfrm>
              <a:custGeom>
                <a:avLst/>
                <a:gdLst>
                  <a:gd name="connsiteX0" fmla="*/ 0 w 2286686"/>
                  <a:gd name="connsiteY0" fmla="*/ 0 h 2004414"/>
                  <a:gd name="connsiteX1" fmla="*/ 2286686 w 2286686"/>
                  <a:gd name="connsiteY1" fmla="*/ 0 h 2004414"/>
                  <a:gd name="connsiteX2" fmla="*/ 2286686 w 2286686"/>
                  <a:gd name="connsiteY2" fmla="*/ 2004414 h 2004414"/>
                  <a:gd name="connsiteX3" fmla="*/ 0 w 2286686"/>
                  <a:gd name="connsiteY3" fmla="*/ 2004414 h 2004414"/>
                  <a:gd name="connsiteX4" fmla="*/ 0 w 2286686"/>
                  <a:gd name="connsiteY4" fmla="*/ 0 h 2004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86686" h="2004414">
                    <a:moveTo>
                      <a:pt x="0" y="0"/>
                    </a:moveTo>
                    <a:lnTo>
                      <a:pt x="2286686" y="0"/>
                    </a:lnTo>
                    <a:lnTo>
                      <a:pt x="2286686" y="2004414"/>
                    </a:lnTo>
                    <a:lnTo>
                      <a:pt x="0" y="2004414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1440" tIns="91440" rIns="91440" bIns="91440" numCol="1" spcCol="1270" anchor="t" anchorCtr="0">
                <a:noAutofit/>
              </a:bodyPr>
              <a:lstStyle/>
              <a:p>
                <a:pPr lvl="0" algn="ctr" defTabSz="10668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th-TH" b="1" kern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ข้อมูลพลังงาน</a:t>
                </a:r>
                <a:br>
                  <a:rPr lang="th-TH" b="1" kern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th-TH" b="0" kern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ระดับ</a:t>
                </a:r>
                <a:r>
                  <a:rPr lang="th-TH" kern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จังหวัด</a:t>
                </a:r>
                <a:br>
                  <a:rPr lang="th-TH" kern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th-TH" kern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ที่แม่นยำและทันสมัย</a:t>
                </a:r>
                <a:endParaRPr lang="en-US" kern="12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2" name="Isosceles Triangle 11"/>
              <p:cNvSpPr/>
              <p:nvPr/>
            </p:nvSpPr>
            <p:spPr>
              <a:xfrm>
                <a:off x="2718182" y="1573990"/>
                <a:ext cx="431450" cy="431450"/>
              </a:xfrm>
              <a:prstGeom prst="triangle">
                <a:avLst>
                  <a:gd name="adj" fmla="val 100000"/>
                </a:avLst>
              </a:prstGeom>
            </p:spPr>
            <p:style>
              <a:lnRef idx="2">
                <a:schemeClr val="accent2">
                  <a:hueOff val="-232075"/>
                  <a:satOff val="-3571"/>
                  <a:lumOff val="-637"/>
                  <a:alphaOff val="0"/>
                </a:schemeClr>
              </a:lnRef>
              <a:fillRef idx="1">
                <a:schemeClr val="accent2">
                  <a:hueOff val="-232075"/>
                  <a:satOff val="-3571"/>
                  <a:lumOff val="-637"/>
                  <a:alphaOff val="0"/>
                </a:schemeClr>
              </a:fillRef>
              <a:effectRef idx="0">
                <a:schemeClr val="accent2">
                  <a:hueOff val="-232075"/>
                  <a:satOff val="-3571"/>
                  <a:lumOff val="-637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3" name="L-Shape 12"/>
              <p:cNvSpPr/>
              <p:nvPr/>
            </p:nvSpPr>
            <p:spPr>
              <a:xfrm rot="5400000">
                <a:off x="3916385" y="1067761"/>
                <a:ext cx="1522176" cy="2532866"/>
              </a:xfrm>
              <a:prstGeom prst="corner">
                <a:avLst>
                  <a:gd name="adj1" fmla="val 16120"/>
                  <a:gd name="adj2" fmla="val 16110"/>
                </a:avLst>
              </a:prstGeom>
            </p:spPr>
            <p:style>
              <a:lnRef idx="2">
                <a:schemeClr val="accent2">
                  <a:hueOff val="-464151"/>
                  <a:satOff val="-7143"/>
                  <a:lumOff val="-1274"/>
                  <a:alphaOff val="0"/>
                </a:schemeClr>
              </a:lnRef>
              <a:fillRef idx="1">
                <a:schemeClr val="accent2">
                  <a:hueOff val="-464151"/>
                  <a:satOff val="-7143"/>
                  <a:lumOff val="-1274"/>
                  <a:alphaOff val="0"/>
                </a:schemeClr>
              </a:fillRef>
              <a:effectRef idx="0">
                <a:schemeClr val="accent2">
                  <a:hueOff val="-464151"/>
                  <a:satOff val="-7143"/>
                  <a:lumOff val="-1274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7" name="Freeform 16"/>
              <p:cNvSpPr/>
              <p:nvPr/>
            </p:nvSpPr>
            <p:spPr>
              <a:xfrm>
                <a:off x="3662296" y="1824542"/>
                <a:ext cx="2286686" cy="1226075"/>
              </a:xfrm>
              <a:custGeom>
                <a:avLst/>
                <a:gdLst>
                  <a:gd name="connsiteX0" fmla="*/ 0 w 2286686"/>
                  <a:gd name="connsiteY0" fmla="*/ 0 h 2004414"/>
                  <a:gd name="connsiteX1" fmla="*/ 2286686 w 2286686"/>
                  <a:gd name="connsiteY1" fmla="*/ 0 h 2004414"/>
                  <a:gd name="connsiteX2" fmla="*/ 2286686 w 2286686"/>
                  <a:gd name="connsiteY2" fmla="*/ 2004414 h 2004414"/>
                  <a:gd name="connsiteX3" fmla="*/ 0 w 2286686"/>
                  <a:gd name="connsiteY3" fmla="*/ 2004414 h 2004414"/>
                  <a:gd name="connsiteX4" fmla="*/ 0 w 2286686"/>
                  <a:gd name="connsiteY4" fmla="*/ 0 h 2004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86686" h="2004414">
                    <a:moveTo>
                      <a:pt x="0" y="0"/>
                    </a:moveTo>
                    <a:lnTo>
                      <a:pt x="2286686" y="0"/>
                    </a:lnTo>
                    <a:lnTo>
                      <a:pt x="2286686" y="2004414"/>
                    </a:lnTo>
                    <a:lnTo>
                      <a:pt x="0" y="2004414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1440" tIns="91440" rIns="91440" bIns="91440" numCol="1" spcCol="1270" anchor="t" anchorCtr="0">
                <a:noAutofit/>
              </a:bodyPr>
              <a:lstStyle/>
              <a:p>
                <a:pPr lvl="0" algn="ctr" defTabSz="10668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th-TH" b="1" kern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แผนพลังงาน</a:t>
                </a:r>
                <a:br>
                  <a:rPr lang="th-TH" b="1" kern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th-TH" kern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สอดคล้องกับความต้องการพื้นที่</a:t>
                </a:r>
                <a:r>
                  <a:rPr lang="en-US" kern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/>
                </a:r>
                <a:br>
                  <a:rPr lang="en-US" kern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th-TH" kern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ในทุกระดับ</a:t>
                </a:r>
                <a:endParaRPr lang="en-US" kern="12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18" name="Isosceles Triangle 17"/>
              <p:cNvSpPr/>
              <p:nvPr/>
            </p:nvSpPr>
            <p:spPr>
              <a:xfrm>
                <a:off x="5517533" y="881288"/>
                <a:ext cx="431450" cy="431450"/>
              </a:xfrm>
              <a:prstGeom prst="triangle">
                <a:avLst>
                  <a:gd name="adj" fmla="val 100000"/>
                </a:avLst>
              </a:prstGeom>
            </p:spPr>
            <p:style>
              <a:lnRef idx="2">
                <a:schemeClr val="accent2">
                  <a:hueOff val="-696227"/>
                  <a:satOff val="-10714"/>
                  <a:lumOff val="-1911"/>
                  <a:alphaOff val="0"/>
                </a:schemeClr>
              </a:lnRef>
              <a:fillRef idx="1">
                <a:schemeClr val="accent2">
                  <a:hueOff val="-696227"/>
                  <a:satOff val="-10714"/>
                  <a:lumOff val="-1911"/>
                  <a:alphaOff val="0"/>
                </a:schemeClr>
              </a:fillRef>
              <a:effectRef idx="0">
                <a:schemeClr val="accent2">
                  <a:hueOff val="-696227"/>
                  <a:satOff val="-10714"/>
                  <a:lumOff val="-1911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21" name="L-Shape 20"/>
              <p:cNvSpPr/>
              <p:nvPr/>
            </p:nvSpPr>
            <p:spPr>
              <a:xfrm rot="5400000">
                <a:off x="6715736" y="375060"/>
                <a:ext cx="1522176" cy="2532866"/>
              </a:xfrm>
              <a:prstGeom prst="corner">
                <a:avLst>
                  <a:gd name="adj1" fmla="val 16120"/>
                  <a:gd name="adj2" fmla="val 16110"/>
                </a:avLst>
              </a:prstGeom>
            </p:spPr>
            <p:style>
              <a:lnRef idx="2">
                <a:schemeClr val="accent2">
                  <a:hueOff val="-928302"/>
                  <a:satOff val="-14286"/>
                  <a:lumOff val="-2548"/>
                  <a:alphaOff val="0"/>
                </a:schemeClr>
              </a:lnRef>
              <a:fillRef idx="1">
                <a:schemeClr val="accent2">
                  <a:hueOff val="-928302"/>
                  <a:satOff val="-14286"/>
                  <a:lumOff val="-2548"/>
                  <a:alphaOff val="0"/>
                </a:schemeClr>
              </a:fillRef>
              <a:effectRef idx="0">
                <a:schemeClr val="accent2">
                  <a:hueOff val="-928302"/>
                  <a:satOff val="-14286"/>
                  <a:lumOff val="-2548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22" name="Freeform 21"/>
              <p:cNvSpPr/>
              <p:nvPr/>
            </p:nvSpPr>
            <p:spPr>
              <a:xfrm>
                <a:off x="6461647" y="1131840"/>
                <a:ext cx="2286686" cy="1133967"/>
              </a:xfrm>
              <a:custGeom>
                <a:avLst/>
                <a:gdLst>
                  <a:gd name="connsiteX0" fmla="*/ 0 w 2286686"/>
                  <a:gd name="connsiteY0" fmla="*/ 0 h 2004414"/>
                  <a:gd name="connsiteX1" fmla="*/ 2286686 w 2286686"/>
                  <a:gd name="connsiteY1" fmla="*/ 0 h 2004414"/>
                  <a:gd name="connsiteX2" fmla="*/ 2286686 w 2286686"/>
                  <a:gd name="connsiteY2" fmla="*/ 2004414 h 2004414"/>
                  <a:gd name="connsiteX3" fmla="*/ 0 w 2286686"/>
                  <a:gd name="connsiteY3" fmla="*/ 2004414 h 2004414"/>
                  <a:gd name="connsiteX4" fmla="*/ 0 w 2286686"/>
                  <a:gd name="connsiteY4" fmla="*/ 0 h 20044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286686" h="2004414">
                    <a:moveTo>
                      <a:pt x="0" y="0"/>
                    </a:moveTo>
                    <a:lnTo>
                      <a:pt x="2286686" y="0"/>
                    </a:lnTo>
                    <a:lnTo>
                      <a:pt x="2286686" y="2004414"/>
                    </a:lnTo>
                    <a:lnTo>
                      <a:pt x="0" y="2004414"/>
                    </a:lnTo>
                    <a:lnTo>
                      <a:pt x="0" y="0"/>
                    </a:lnTo>
                    <a:close/>
                  </a:path>
                </a:pathLst>
              </a:cu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1440" tIns="91440" rIns="91440" bIns="91440" numCol="1" spcCol="1270" anchor="t" anchorCtr="0">
                <a:noAutofit/>
              </a:bodyPr>
              <a:lstStyle/>
              <a:p>
                <a:pPr lvl="0" algn="ctr" defTabSz="10668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th-TH" b="1" kern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ขับเคลื่อนโครงการ</a:t>
                </a:r>
                <a:br>
                  <a:rPr lang="th-TH" b="1" kern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th-TH" b="0" kern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ได้ผลจริงเป็นประโยชน์</a:t>
                </a:r>
                <a:br>
                  <a:rPr lang="th-TH" b="0" kern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</a:br>
                <a:r>
                  <a:rPr lang="th-TH" b="0" kern="1200" dirty="0" smtClean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ต่อประชาชน</a:t>
                </a:r>
                <a:endParaRPr lang="en-US" b="0" kern="12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467544" y="748928"/>
              <a:ext cx="6120680" cy="1901515"/>
              <a:chOff x="467544" y="980728"/>
              <a:chExt cx="6120680" cy="1901515"/>
            </a:xfrm>
          </p:grpSpPr>
          <p:sp>
            <p:nvSpPr>
              <p:cNvPr id="8" name="Oval 7"/>
              <p:cNvSpPr/>
              <p:nvPr/>
            </p:nvSpPr>
            <p:spPr>
              <a:xfrm>
                <a:off x="467544" y="2378187"/>
                <a:ext cx="504056" cy="504056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th-TH" sz="18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1</a:t>
                </a: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9" name="Oval 8"/>
              <p:cNvSpPr/>
              <p:nvPr/>
            </p:nvSpPr>
            <p:spPr>
              <a:xfrm>
                <a:off x="3239852" y="1700808"/>
                <a:ext cx="504056" cy="504056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2</a:t>
                </a:r>
              </a:p>
            </p:txBody>
          </p:sp>
          <p:sp>
            <p:nvSpPr>
              <p:cNvPr id="10" name="Oval 9"/>
              <p:cNvSpPr/>
              <p:nvPr/>
            </p:nvSpPr>
            <p:spPr>
              <a:xfrm>
                <a:off x="6084168" y="980728"/>
                <a:ext cx="504056" cy="504056"/>
              </a:xfrm>
              <a:prstGeom prst="ellipse">
                <a:avLst/>
              </a:prstGeom>
              <a:solidFill>
                <a:schemeClr val="accent6">
                  <a:lumMod val="20000"/>
                  <a:lumOff val="8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uLnTx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3</a:t>
                </a: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</p:grpSp>
        <p:sp>
          <p:nvSpPr>
            <p:cNvPr id="16" name="TextBox 15"/>
            <p:cNvSpPr txBox="1"/>
            <p:nvPr/>
          </p:nvSpPr>
          <p:spPr>
            <a:xfrm>
              <a:off x="827584" y="1533170"/>
              <a:ext cx="15840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20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วัตถุประสงค์</a:t>
              </a: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98040" y="2727354"/>
            <a:ext cx="9005016" cy="3902046"/>
            <a:chOff x="98040" y="2727354"/>
            <a:chExt cx="9005016" cy="3493800"/>
          </a:xfrm>
        </p:grpSpPr>
        <p:sp>
          <p:nvSpPr>
            <p:cNvPr id="19" name="Rounded Rectangle 18"/>
            <p:cNvSpPr/>
            <p:nvPr/>
          </p:nvSpPr>
          <p:spPr>
            <a:xfrm>
              <a:off x="3163605" y="3547640"/>
              <a:ext cx="2873886" cy="2673514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th-TH" b="1" kern="12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แผนจังหวัด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th-TH" sz="1600" b="1" kern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th-TH" sz="1600" kern="12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เพื่อกำหนดทิศทางการพัฒนาพลังงานในจังหวัดและเสนอโครงการสู่แผนเชิงพื้นที่อื่น ๆ  (แผนพัฒนาจังหวัด </a:t>
              </a:r>
              <a:br>
                <a:rPr lang="th-TH" sz="1600" kern="12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th-TH" sz="1600" kern="12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ลุ่มจังหวัด ฯลฯ)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th-TH" sz="1600" kern="1200" noProof="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ปรับปรุงแผนทุกปี</a:t>
              </a:r>
            </a:p>
            <a:p>
              <a:pPr marL="285750" marR="0" lvl="0" indent="-28575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th-TH" sz="1600" kern="12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ดำเนินงานตั้งแต่ พ.ศ. 2557</a:t>
              </a:r>
              <a:endParaRPr kumimoji="0" lang="en-US" sz="16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7" name="Rounded Rectangle 26"/>
            <p:cNvSpPr/>
            <p:nvPr/>
          </p:nvSpPr>
          <p:spPr>
            <a:xfrm>
              <a:off x="98040" y="3547640"/>
              <a:ext cx="2873886" cy="2673514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th-TH" b="1" kern="12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แผนชุมชน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th-TH" sz="1600" b="1" kern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285750" indent="-285750" hangingPunct="1">
                <a:buFont typeface="Arial" panose="020B0604020202020204" pitchFamily="34" charset="0"/>
                <a:buChar char="•"/>
                <a:defRPr/>
              </a:pPr>
              <a:r>
                <a:rPr lang="th-TH" sz="1600" dirty="0" smtClean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เพื่อสนับสนุนชุมชน</a:t>
              </a:r>
              <a:r>
                <a:rPr lang="th-TH" sz="1600" dirty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จัดการตนเองด้าน</a:t>
              </a:r>
              <a:r>
                <a:rPr lang="th-TH" sz="1600" dirty="0" smtClean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พลังงาน</a:t>
              </a:r>
            </a:p>
            <a:p>
              <a:pPr marL="285750" indent="-285750" hangingPunct="1">
                <a:buFont typeface="Arial" panose="020B0604020202020204" pitchFamily="34" charset="0"/>
                <a:buChar char="•"/>
                <a:defRPr/>
              </a:pPr>
              <a:r>
                <a:rPr lang="th-TH" sz="1600" dirty="0" smtClean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เน้นการลด</a:t>
              </a:r>
              <a:r>
                <a:rPr lang="th-TH" sz="1600" dirty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ต้นทุนด้าน</a:t>
              </a:r>
              <a:r>
                <a:rPr lang="th-TH" sz="1600" dirty="0" smtClean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พลังงานสร้าง</a:t>
              </a:r>
              <a:r>
                <a:rPr lang="th-TH" sz="1600" dirty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งาน สร้าง</a:t>
              </a:r>
              <a:r>
                <a:rPr lang="th-TH" sz="1600" dirty="0" smtClean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อาชีพ</a:t>
              </a:r>
            </a:p>
            <a:p>
              <a:pPr marL="285750" indent="-285750" hangingPunct="1">
                <a:buFont typeface="Arial" panose="020B0604020202020204" pitchFamily="34" charset="0"/>
                <a:buChar char="•"/>
                <a:defRPr/>
              </a:pPr>
              <a:r>
                <a:rPr lang="th-TH" sz="1600" dirty="0" smtClean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ดำเนินงานตั้งแต่ พ.ศ. 2549 จำนวน อปท. ที่ร่วมทำแผนแล้ว </a:t>
              </a:r>
              <a:r>
                <a:rPr lang="th-TH" sz="1600" dirty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1,9</a:t>
              </a:r>
              <a:r>
                <a:rPr lang="en-US" sz="1600" dirty="0" smtClean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65</a:t>
              </a:r>
              <a:endParaRPr lang="th-TH" sz="160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  <a:p>
              <a:pPr hangingPunct="1">
                <a:defRPr/>
              </a:pPr>
              <a:endParaRPr lang="th-TH" sz="16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>
              <a:off x="6229170" y="3547640"/>
              <a:ext cx="2873886" cy="2673514"/>
            </a:xfrm>
            <a:prstGeom prst="round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th-TH" b="1" kern="12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แผนภาค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US" sz="1600" b="1" kern="1200" dirty="0" smtClean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285750" lvl="0" indent="-285750" hangingPunct="1">
                <a:buFont typeface="Arial" panose="020B0604020202020204" pitchFamily="34" charset="0"/>
                <a:buChar char="•"/>
                <a:defRPr/>
              </a:pPr>
              <a:r>
                <a:rPr lang="th-TH" sz="1600" kern="12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เพื่อจัดทำแผนพัฒนาภาคสภาพ</a:t>
              </a:r>
              <a:r>
                <a:rPr lang="th-TH" sz="1600" kern="1200" dirty="0" err="1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ัฒน์แ</a:t>
              </a:r>
              <a:r>
                <a:rPr lang="th-TH" sz="1600" kern="12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ละพลังงาน</a:t>
              </a:r>
              <a:endParaRPr lang="th-TH" sz="1600" kern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285750" lvl="0" indent="-285750" hangingPunct="1">
                <a:buFont typeface="Arial" panose="020B0604020202020204" pitchFamily="34" charset="0"/>
                <a:buChar char="•"/>
                <a:defRPr/>
              </a:pPr>
              <a:r>
                <a:rPr lang="th-TH" sz="1600" kern="12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ได้จัด </a:t>
              </a:r>
              <a:r>
                <a:rPr lang="en-US" sz="1600" kern="12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ocus </a:t>
              </a:r>
              <a:r>
                <a:rPr lang="en-US" sz="1600" kern="12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Group </a:t>
              </a:r>
              <a:r>
                <a:rPr lang="th-TH" sz="1600" kern="1200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ทั้ง </a:t>
              </a:r>
              <a:r>
                <a:rPr lang="th-TH" sz="1600" kern="12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/>
              </a:r>
              <a:br>
                <a:rPr lang="th-TH" sz="1600" kern="12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th-TH" sz="1600" kern="12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6 ภาคเพื่อระดมความเห็น</a:t>
              </a:r>
            </a:p>
            <a:p>
              <a:pPr marL="285750" lvl="0" indent="-285750" hangingPunct="1">
                <a:buFont typeface="Arial" panose="020B0604020202020204" pitchFamily="34" charset="0"/>
                <a:buChar char="•"/>
                <a:defRPr/>
              </a:pPr>
              <a:r>
                <a:rPr lang="th-TH" sz="1600" kern="12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เสนอร่างที่ 1 เมื่อมิถุนายน 2562</a:t>
              </a:r>
            </a:p>
            <a:p>
              <a:pPr marL="285750" lvl="0" indent="-285750" hangingPunct="1">
                <a:buFont typeface="Arial" panose="020B0604020202020204" pitchFamily="34" charset="0"/>
                <a:buChar char="•"/>
                <a:defRPr/>
              </a:pPr>
              <a:r>
                <a:rPr lang="th-TH" sz="1600" kern="1200" dirty="0" smtClean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เตรียมนำเสนอร่างแก่ผู้บริหาร สิงหาคม 2562</a:t>
              </a:r>
            </a:p>
            <a:p>
              <a:pPr lvl="0" hangingPunct="1">
                <a:defRPr/>
              </a:pPr>
              <a:endParaRPr lang="th-TH" sz="1600" kern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cxnSp>
          <p:nvCxnSpPr>
            <p:cNvPr id="30" name="Elbow Connector 29"/>
            <p:cNvCxnSpPr>
              <a:stCxn id="13" idx="0"/>
              <a:endCxn id="27" idx="0"/>
            </p:cNvCxnSpPr>
            <p:nvPr/>
          </p:nvCxnSpPr>
          <p:spPr>
            <a:xfrm rot="5400000">
              <a:off x="2160282" y="2102056"/>
              <a:ext cx="820286" cy="2070883"/>
            </a:xfrm>
            <a:prstGeom prst="bentConnector3">
              <a:avLst>
                <a:gd name="adj1" fmla="val 50000"/>
              </a:avLst>
            </a:prstGeom>
            <a:ln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34" name="Elbow Connector 33"/>
            <p:cNvCxnSpPr>
              <a:stCxn id="13" idx="0"/>
              <a:endCxn id="19" idx="0"/>
            </p:cNvCxnSpPr>
            <p:nvPr/>
          </p:nvCxnSpPr>
          <p:spPr>
            <a:xfrm rot="16200000" flipH="1">
              <a:off x="3693064" y="2640156"/>
              <a:ext cx="820286" cy="994682"/>
            </a:xfrm>
            <a:prstGeom prst="bentConnector3">
              <a:avLst>
                <a:gd name="adj1" fmla="val 50000"/>
              </a:avLst>
            </a:prstGeom>
            <a:ln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cxnSp>
          <p:nvCxnSpPr>
            <p:cNvPr id="38" name="Elbow Connector 37"/>
            <p:cNvCxnSpPr>
              <a:stCxn id="13" idx="0"/>
              <a:endCxn id="29" idx="0"/>
            </p:cNvCxnSpPr>
            <p:nvPr/>
          </p:nvCxnSpPr>
          <p:spPr>
            <a:xfrm rot="16200000" flipH="1">
              <a:off x="5225846" y="1107373"/>
              <a:ext cx="820286" cy="4060247"/>
            </a:xfrm>
            <a:prstGeom prst="bentConnector3">
              <a:avLst>
                <a:gd name="adj1" fmla="val 50000"/>
              </a:avLst>
            </a:prstGeom>
            <a:ln/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2635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CC8D51-5B81-4427-8368-374905FFCA51}" type="slidenum">
              <a:rPr kumimoji="0" lang="en-US" altLang="th-TH" sz="10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9</a:t>
            </a:fld>
            <a:endParaRPr kumimoji="0" lang="en-US" altLang="th-TH" sz="10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5" name="Title 369"/>
          <p:cNvSpPr>
            <a:spLocks noGrp="1"/>
          </p:cNvSpPr>
          <p:nvPr>
            <p:ph type="title"/>
          </p:nvPr>
        </p:nvSpPr>
        <p:spPr>
          <a:xfrm>
            <a:off x="243848" y="37460"/>
            <a:ext cx="8900151" cy="511220"/>
          </a:xfrm>
          <a:noFill/>
          <a:ln>
            <a:noFill/>
          </a:ln>
        </p:spPr>
        <p:txBody>
          <a:bodyPr anchor="ctr"/>
          <a:lstStyle/>
          <a:p>
            <a:pPr marL="342900" lvl="0" indent="-342900">
              <a:spcBef>
                <a:spcPct val="50000"/>
              </a:spcBef>
              <a:tabLst>
                <a:tab pos="990600" algn="l"/>
                <a:tab pos="1890713" algn="l"/>
              </a:tabLst>
              <a:defRPr/>
            </a:pPr>
            <a:r>
              <a:rPr lang="th-TH" sz="2000" kern="500" dirty="0">
                <a:solidFill>
                  <a:schemeClr val="tx1"/>
                </a:solidFill>
              </a:rPr>
              <a:t>ภารกิจสำนักงานพลังงานจังหวัด</a:t>
            </a:r>
            <a:endParaRPr lang="th-TH" sz="2000" b="1" kern="500" dirty="0">
              <a:solidFill>
                <a:schemeClr val="tx1"/>
              </a:solidFill>
            </a:endParaRPr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59B737B2-BCDB-4D8D-BAA9-295A3C114A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0520537"/>
              </p:ext>
            </p:extLst>
          </p:nvPr>
        </p:nvGraphicFramePr>
        <p:xfrm>
          <a:off x="391525" y="1143000"/>
          <a:ext cx="8456813" cy="5283200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589675">
                  <a:extLst>
                    <a:ext uri="{9D8B030D-6E8A-4147-A177-3AD203B41FA5}">
                      <a16:colId xmlns:a16="http://schemas.microsoft.com/office/drawing/2014/main" val="1754819886"/>
                    </a:ext>
                  </a:extLst>
                </a:gridCol>
                <a:gridCol w="381000">
                  <a:extLst>
                    <a:ext uri="{9D8B030D-6E8A-4147-A177-3AD203B41FA5}">
                      <a16:colId xmlns:a16="http://schemas.microsoft.com/office/drawing/2014/main" val="2288758583"/>
                    </a:ext>
                  </a:extLst>
                </a:gridCol>
                <a:gridCol w="4953000">
                  <a:extLst>
                    <a:ext uri="{9D8B030D-6E8A-4147-A177-3AD203B41FA5}">
                      <a16:colId xmlns:a16="http://schemas.microsoft.com/office/drawing/2014/main" val="3119779899"/>
                    </a:ext>
                  </a:extLst>
                </a:gridCol>
                <a:gridCol w="1533138">
                  <a:extLst>
                    <a:ext uri="{9D8B030D-6E8A-4147-A177-3AD203B41FA5}">
                      <a16:colId xmlns:a16="http://schemas.microsoft.com/office/drawing/2014/main" val="39219648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th-TH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ระเด็น</a:t>
                      </a:r>
                      <a:endParaRPr lang="en-US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อำนาจหน้าที่ </a:t>
                      </a:r>
                      <a:r>
                        <a:rPr lang="th-TH" sz="1600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พ</a:t>
                      </a: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จ. ตามกฎกระทรวง</a:t>
                      </a:r>
                      <a:endParaRPr lang="en-US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รมที่เกี่ยวข้อง</a:t>
                      </a:r>
                      <a:endParaRPr lang="en-US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15455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ื่อสารและประสานงาน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buFont typeface="+mj-lt"/>
                        <a:buNone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buFont typeface="+mj-lt"/>
                        <a:buNone/>
                      </a:pP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ระสานงานและปฏิบัติหน้าที่ในฐานะผู้แทนของกระทรวงในส่วนภูมิภาครวมทั้งประสาน และสนับสนุนการปฏิบัติงานด้านพลังงาน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ป.พน.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0329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ความปลอดภัย</a:t>
                      </a:r>
                      <a:b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</a:b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น้ำมัน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ํากับดูแล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และส่งเสริม</a:t>
                      </a: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ารดําเนินงาน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ด้านความปลอดภัยและสิ่งแวดล้อมของกิจการน้ำมันเชื้อเพลิง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ธพ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1832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คุณภาพน้ำมัน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ํากับดูแล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คุณภาพ การค้า และการ</a:t>
                      </a: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ํารอง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น้ำมันเชื้อเพลิง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ธพ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426839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่งเสริม</a:t>
                      </a:r>
                      <a:r>
                        <a:rPr lang="th-TH" sz="1600" b="1" baseline="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E</a:t>
                      </a:r>
                      <a:r>
                        <a:rPr lang="th-TH" sz="1600" b="1" baseline="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E</a:t>
                      </a:r>
                      <a:endParaRPr lang="th-TH" sz="1600" b="1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marL="0" indent="0" algn="l">
                        <a:buFont typeface="+mj-lt"/>
                        <a:buNone/>
                      </a:pP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่งเสริมและพัฒนาพลังงานทดแทนและการอนุรักษ์พลังงาน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พพ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 / สป.พน.</a:t>
                      </a: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/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.</a:t>
                      </a: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ท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อ.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276839"/>
                  </a:ext>
                </a:extLst>
              </a:tr>
              <a:tr h="187960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ำรวจขุดเจาะ</a:t>
                      </a:r>
                      <a:b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</a:b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ิโตรเลียม</a:t>
                      </a: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ระสานและ</a:t>
                      </a: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อํานว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ยความสะดวกใน</a:t>
                      </a: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ารสํารวจ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และผลิตเชื้อเพลิงธรรมชาติ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ชธ.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0207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ขับเคลื่อนยุทธศาสตร์</a:t>
                      </a:r>
                    </a:p>
                    <a:p>
                      <a:pPr marL="0" indent="0" algn="l">
                        <a:buFont typeface="+mj-lt"/>
                        <a:buNone/>
                      </a:pP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6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จัดทำ เสนอแนะ และประสานแผนพัฒนาพลังงานในระดับจังหวัด รวมทั้ง  ประสานการพัฒนา และประเมินผล</a:t>
                      </a:r>
                      <a:r>
                        <a:rPr lang="th-TH" sz="1600" dirty="0" err="1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การดําเนินงาน</a:t>
                      </a: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ตามแผนดังกล่าว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ป.พน.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838076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เครือข่าย/</a:t>
                      </a:r>
                      <a:r>
                        <a:rPr lang="en-US" sz="1600" b="1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</a:t>
                      </a:r>
                      <a:endParaRPr lang="th-TH" sz="1600" b="1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buFont typeface="+mj-lt"/>
                        <a:buNone/>
                      </a:pPr>
                      <a:r>
                        <a:rPr lang="en-US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7.</a:t>
                      </a:r>
                      <a:endParaRPr lang="th-TH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 algn="l">
                        <a:buFont typeface="+mj-lt"/>
                        <a:buNone/>
                      </a:pPr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่งเสริมการมีส่วนร่วมของทุกภาคส่วนในงานด้านพลังงาน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สป.พน.</a:t>
                      </a:r>
                      <a:endParaRPr lang="en-US" sz="1600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568676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b="1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อื่น</a:t>
                      </a:r>
                      <a:r>
                        <a:rPr lang="th-TH" sz="1600" b="1" baseline="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ๆ </a:t>
                      </a:r>
                      <a:endParaRPr lang="th-TH" sz="1600" b="1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.</a:t>
                      </a:r>
                      <a:endParaRPr lang="th-TH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ปฏิบัติงานร่วมกับหรือสนับสนุนการปฏิบัติงานของหน่วยงานอื่นที่เกี่ยวข้อง หรือที่ได้รับมอบหมาย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th-TH" sz="1600" dirty="0">
                          <a:solidFill>
                            <a:schemeClr val="bg1">
                              <a:lumMod val="75000"/>
                            </a:schemeClr>
                          </a:solidFill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ทุกกรม</a:t>
                      </a:r>
                      <a:endParaRPr lang="en-US" sz="1600" dirty="0">
                        <a:solidFill>
                          <a:schemeClr val="bg1">
                            <a:lumMod val="75000"/>
                          </a:schemeClr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2261184"/>
                  </a:ext>
                </a:extLst>
              </a:tr>
            </a:tbl>
          </a:graphicData>
        </a:graphic>
      </p:graphicFrame>
      <p:sp>
        <p:nvSpPr>
          <p:cNvPr id="9" name="Content Placeholder 6"/>
          <p:cNvSpPr txBox="1">
            <a:spLocks/>
          </p:cNvSpPr>
          <p:nvPr/>
        </p:nvSpPr>
        <p:spPr>
          <a:xfrm>
            <a:off x="395536" y="685800"/>
            <a:ext cx="8610778" cy="55705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/>
          <a:lstStyle>
            <a:lvl1pPr marL="346620" marR="0" indent="-346620" algn="l" defTabSz="907046" rtl="0" latinLnBrk="0">
              <a:lnSpc>
                <a:spcPct val="12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00000"/>
              <a:buFontTx/>
              <a:buChar char="•"/>
              <a:tabLst/>
              <a:defRPr sz="24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Tahoma" pitchFamily="34" charset="0"/>
                <a:ea typeface="Tahoma" pitchFamily="34" charset="0"/>
                <a:cs typeface="Tahoma" pitchFamily="34" charset="0"/>
                <a:sym typeface="Arial"/>
              </a:defRPr>
            </a:lvl1pPr>
            <a:lvl2pPr marL="192747" marR="0" indent="-191128" algn="l" defTabSz="907046" rtl="0" latinLnBrk="0">
              <a:lnSpc>
                <a:spcPct val="12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5000"/>
              <a:buFontTx/>
              <a:buChar char="▪"/>
              <a:tabLst/>
              <a:defRPr sz="20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Tahoma" pitchFamily="34" charset="0"/>
                <a:ea typeface="Tahoma" pitchFamily="34" charset="0"/>
                <a:cs typeface="Tahoma" pitchFamily="34" charset="0"/>
                <a:sym typeface="Arial"/>
              </a:defRPr>
            </a:lvl2pPr>
            <a:lvl3pPr marL="461622" marR="0" indent="-262395" algn="l" defTabSz="907046" rtl="0" latinLnBrk="0">
              <a:lnSpc>
                <a:spcPct val="12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Char char="–"/>
              <a:tabLst/>
              <a:defRPr sz="18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Tahoma" pitchFamily="34" charset="0"/>
                <a:ea typeface="Tahoma" pitchFamily="34" charset="0"/>
                <a:cs typeface="Tahoma" pitchFamily="34" charset="0"/>
                <a:sym typeface="Arial"/>
              </a:defRPr>
            </a:lvl3pPr>
            <a:lvl4pPr marL="621975" marR="0" indent="-153875" algn="l" defTabSz="907046" rtl="0" latinLnBrk="0">
              <a:lnSpc>
                <a:spcPct val="12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120000"/>
              <a:buFontTx/>
              <a:buChar char="▫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Tahoma" pitchFamily="34" charset="0"/>
                <a:ea typeface="Tahoma" pitchFamily="34" charset="0"/>
                <a:cs typeface="Tahoma" pitchFamily="34" charset="0"/>
                <a:sym typeface="Arial"/>
              </a:defRPr>
            </a:lvl4pPr>
            <a:lvl5pPr marL="759651" marR="0" indent="-127959" algn="l" defTabSz="907046" rtl="0" latinLnBrk="0">
              <a:lnSpc>
                <a:spcPct val="122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89000"/>
              <a:buFontTx/>
              <a:buChar char="-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Tahoma" pitchFamily="34" charset="0"/>
                <a:ea typeface="Tahoma" pitchFamily="34" charset="0"/>
                <a:cs typeface="Tahoma" pitchFamily="34" charset="0"/>
                <a:sym typeface="Arial"/>
              </a:defRPr>
            </a:lvl5pPr>
            <a:lvl6pPr marL="763328" marR="0" indent="-13252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89000"/>
              <a:buFontTx/>
              <a:buChar char="-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763328" marR="0" indent="-13252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89000"/>
              <a:buFontTx/>
              <a:buChar char="-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763328" marR="0" indent="-13252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89000"/>
              <a:buFontTx/>
              <a:buChar char="-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763328" marR="0" indent="-13252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89000"/>
              <a:buFontTx/>
              <a:buChar char="-"/>
              <a:tabLst/>
              <a:defRPr sz="16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indent="0" hangingPunct="1">
              <a:buFontTx/>
              <a:buNone/>
            </a:pPr>
            <a:r>
              <a:rPr lang="th-TH" sz="1800" dirty="0" smtClean="0"/>
              <a:t>ประเด็นที่เกี่ยวข้องกับสำนักงานปลัดกระทรวงพลังงาน (ต่อ)</a:t>
            </a:r>
            <a:endParaRPr lang="th-TH" sz="1800" dirty="0"/>
          </a:p>
        </p:txBody>
      </p:sp>
    </p:spTree>
    <p:extLst>
      <p:ext uri="{BB962C8B-B14F-4D97-AF65-F5344CB8AC3E}">
        <p14:creationId xmlns:p14="http://schemas.microsoft.com/office/powerpoint/2010/main" val="2505246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2743200"/>
            <a:ext cx="9067800" cy="1219200"/>
          </a:xfrm>
          <a:solidFill>
            <a:schemeClr val="accent3"/>
          </a:solidFill>
        </p:spPr>
        <p:txBody>
          <a:bodyPr/>
          <a:lstStyle/>
          <a:p>
            <a:pPr algn="ctr"/>
            <a:r>
              <a:rPr lang="th-TH" dirty="0"/>
              <a:t/>
            </a:r>
            <a:br>
              <a:rPr lang="th-TH" dirty="0"/>
            </a:br>
            <a:r>
              <a:rPr lang="th-TH" dirty="0"/>
              <a:t>โครงสร้างกระทรวงพลังงาน</a:t>
            </a:r>
            <a:br>
              <a:rPr lang="th-TH" dirty="0"/>
            </a:br>
            <a:r>
              <a:rPr lang="th-TH" dirty="0"/>
              <a:t/>
            </a:r>
            <a:br>
              <a:rPr lang="th-TH" dirty="0"/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CC8D51-5B81-4427-8368-374905FFCA51}" type="slidenum">
              <a:rPr kumimoji="0" lang="en-US" altLang="th-TH" sz="10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th-TH" sz="10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2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CC8D51-5B81-4427-8368-374905FFCA51}" type="slidenum">
              <a:rPr kumimoji="0" lang="en-US" altLang="th-TH" sz="10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altLang="th-TH" sz="10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3106182212"/>
              </p:ext>
            </p:extLst>
          </p:nvPr>
        </p:nvGraphicFramePr>
        <p:xfrm>
          <a:off x="1447800" y="2057400"/>
          <a:ext cx="7162800" cy="5003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itle 2"/>
          <p:cNvSpPr txBox="1">
            <a:spLocks/>
          </p:cNvSpPr>
          <p:nvPr/>
        </p:nvSpPr>
        <p:spPr bwMode="auto">
          <a:xfrm>
            <a:off x="0" y="0"/>
            <a:ext cx="9161463" cy="442913"/>
          </a:xfrm>
          <a:prstGeom prst="rect">
            <a:avLst/>
          </a:prstGeom>
          <a:noFill/>
          <a:ln>
            <a:noFill/>
          </a:ln>
          <a:extLst/>
        </p:spPr>
        <p:txBody>
          <a:bodyPr lIns="72000" rIns="72000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th-TH" sz="2000" b="1" kern="1200" dirty="0">
                <a:latin typeface="Tahoma" panose="020B0604030504040204" pitchFamily="34" charset="0"/>
                <a:ea typeface="ＭＳ Ｐゴシック"/>
                <a:cs typeface="Tahoma" panose="020B0604030504040204" pitchFamily="34" charset="0"/>
              </a:rPr>
              <a:t> </a:t>
            </a:r>
            <a:r>
              <a:rPr lang="th-TH" altLang="th-TH" sz="2000" b="1" kern="1200" dirty="0" smtClean="0">
                <a:latin typeface="Tahoma" panose="020B0604030504040204" pitchFamily="34" charset="0"/>
                <a:ea typeface="ＭＳ Ｐゴシック"/>
                <a:cs typeface="Tahoma" panose="020B0604030504040204" pitchFamily="34" charset="0"/>
              </a:rPr>
              <a:t>เครือข่ายพลังงานทั่วประเทศ</a:t>
            </a:r>
          </a:p>
        </p:txBody>
      </p:sp>
      <p:sp>
        <p:nvSpPr>
          <p:cNvPr id="6" name="Rectangle 5"/>
          <p:cNvSpPr/>
          <p:nvPr/>
        </p:nvSpPr>
        <p:spPr>
          <a:xfrm>
            <a:off x="609600" y="609600"/>
            <a:ext cx="7467600" cy="18466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16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สช</a:t>
            </a:r>
            <a:r>
              <a:rPr lang="th-TH" sz="16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/ กศร. สร้างเครือข่ายภาคประชาชนทั่วประเทศอย่างต่อเนื่อง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อาสาสมัครพลังงาน ช่างเทคนิคเชิงพลังงงานชุมชน (ตั้งแต่ 2546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ร้างนัก</a:t>
            </a:r>
            <a:r>
              <a:rPr lang="th-TH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ลุ่มนักสื่อสารพลังงานด้านการสื่อสารนโยบายพลังงานในระดับ</a:t>
            </a:r>
            <a:r>
              <a:rPr 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ชุมชน ในพื้นที่อ่อนไหว 8 จังหวัด (ตั้งแต่ 2561)</a:t>
            </a:r>
            <a:endParaRPr lang="th-TH" sz="14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หลักสูตรร่วมกับสำนักงานการศึกษาขั้นพื้นฐานและอบรมครูกิจกรรม</a:t>
            </a:r>
            <a:r>
              <a:rPr lang="th-TH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พลังงานเสริมทักษะด้านสะเต็มศึกษาในระดับการศึกษาขั้นพื้นฐาน 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TEM </a:t>
            </a:r>
            <a:r>
              <a:rPr 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ตั้งแต่ 2560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th-TH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ร้างกระบวนความคิดทางพลังงานและพัฒนาวิชาชีพด้านพลังงานแก่ประชาชน (</a:t>
            </a:r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ergy for Life) </a:t>
            </a:r>
            <a:r>
              <a:rPr 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ในระบบการศึกษานอกโรงรี</a:t>
            </a:r>
            <a:r>
              <a:rPr lang="th-TH" sz="1400" dirty="0" err="1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ยน</a:t>
            </a:r>
            <a:r>
              <a:rPr 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(กศน.) (ตั้งแต่ 2557)</a:t>
            </a:r>
          </a:p>
        </p:txBody>
      </p:sp>
    </p:spTree>
    <p:extLst>
      <p:ext uri="{BB962C8B-B14F-4D97-AF65-F5344CB8AC3E}">
        <p14:creationId xmlns:p14="http://schemas.microsoft.com/office/powerpoint/2010/main" val="3796898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CC8D51-5B81-4427-8368-374905FFCA51}" type="slidenum">
              <a:rPr kumimoji="0" lang="en-US" altLang="th-TH" sz="10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altLang="th-TH" sz="10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38100" y="0"/>
            <a:ext cx="7277100" cy="611188"/>
          </a:xfrm>
          <a:prstGeom prst="rect">
            <a:avLst/>
          </a:prstGeom>
          <a:noFill/>
          <a:ln>
            <a:noFill/>
          </a:ln>
          <a:ex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20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ภารกิจด้านการประชาสัมพันธ์ในระดับภูมิภาค</a:t>
            </a:r>
            <a:endParaRPr lang="en-US" sz="20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Picture 5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1" y="1481534"/>
            <a:ext cx="4771984" cy="49871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ounded Rectangle 7"/>
          <p:cNvSpPr/>
          <p:nvPr/>
        </p:nvSpPr>
        <p:spPr bwMode="auto">
          <a:xfrm>
            <a:off x="353992" y="650082"/>
            <a:ext cx="4114801" cy="646112"/>
          </a:xfrm>
          <a:prstGeom prst="roundRect">
            <a:avLst/>
          </a:prstGeom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th-TH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ยุทธศาสตร์การสื่อสารและการ</a:t>
            </a:r>
            <a:r>
              <a:rPr 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ประชาสัมพันธ์</a:t>
            </a:r>
            <a: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th-TH" sz="14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ของ</a:t>
            </a:r>
            <a:r>
              <a:rPr lang="th-TH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ระทรวงพลังงาน</a:t>
            </a:r>
          </a:p>
        </p:txBody>
      </p:sp>
      <p:grpSp>
        <p:nvGrpSpPr>
          <p:cNvPr id="9" name="Group 6"/>
          <p:cNvGrpSpPr>
            <a:grpSpLocks/>
          </p:cNvGrpSpPr>
          <p:nvPr/>
        </p:nvGrpSpPr>
        <p:grpSpPr bwMode="auto">
          <a:xfrm>
            <a:off x="4810127" y="611188"/>
            <a:ext cx="4333873" cy="5686425"/>
            <a:chOff x="6324600" y="775046"/>
            <a:chExt cx="5435595" cy="5686262"/>
          </a:xfrm>
        </p:grpSpPr>
        <p:sp>
          <p:nvSpPr>
            <p:cNvPr id="10" name="Snip and Round Single Corner Rectangle 9"/>
            <p:cNvSpPr/>
            <p:nvPr/>
          </p:nvSpPr>
          <p:spPr>
            <a:xfrm>
              <a:off x="6340476" y="3446732"/>
              <a:ext cx="2219458" cy="366701"/>
            </a:xfrm>
            <a:prstGeom prst="snip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1400" b="1" dirty="0">
                  <a:solidFill>
                    <a:schemeClr val="accent3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“ขยี้ข่าวร้าย”</a:t>
              </a:r>
            </a:p>
          </p:txBody>
        </p:sp>
        <p:sp>
          <p:nvSpPr>
            <p:cNvPr id="11" name="Snip and Round Single Corner Rectangle 10"/>
            <p:cNvSpPr/>
            <p:nvPr/>
          </p:nvSpPr>
          <p:spPr>
            <a:xfrm>
              <a:off x="6696098" y="3867407"/>
              <a:ext cx="4952033" cy="542909"/>
            </a:xfrm>
            <a:prstGeom prst="snip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คือการป้องกันข่าวที่ไม่ดีด้านพลังงาน ที่เกิดขึ้นในพื้นที่ </a:t>
              </a:r>
              <a:r>
                <a:rPr lang="th-TH" sz="1400" dirty="0" smtClean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ไม่ให้</a:t>
              </a:r>
              <a: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ลุกลาม บานปลาย </a:t>
              </a:r>
              <a:endParaRPr lang="en-US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2" name="Snip and Round Single Corner Rectangle 11"/>
            <p:cNvSpPr/>
            <p:nvPr/>
          </p:nvSpPr>
          <p:spPr>
            <a:xfrm>
              <a:off x="6711975" y="1910076"/>
              <a:ext cx="4937251" cy="641332"/>
            </a:xfrm>
            <a:prstGeom prst="snip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ผ่านโครงการที่ทำแล้วประชาชนชื่นชมและมีความสุข</a:t>
              </a:r>
              <a:b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อาทิ โครงการโซล่าร์สูบน้ำ  พาราโบลาโดม ฯลฯ </a:t>
              </a:r>
              <a:endParaRPr lang="en-US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3" name="Snip and Round Single Corner Rectangle 12"/>
            <p:cNvSpPr/>
            <p:nvPr/>
          </p:nvSpPr>
          <p:spPr>
            <a:xfrm>
              <a:off x="6324600" y="1498925"/>
              <a:ext cx="2235334" cy="360353"/>
            </a:xfrm>
            <a:prstGeom prst="snip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1400" b="1" dirty="0">
                  <a:solidFill>
                    <a:schemeClr val="accent3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“ขึงข่าวดี” </a:t>
              </a:r>
            </a:p>
          </p:txBody>
        </p:sp>
        <p:sp>
          <p:nvSpPr>
            <p:cNvPr id="14" name="Snip and Round Single Corner Rectangle 13"/>
            <p:cNvSpPr/>
            <p:nvPr/>
          </p:nvSpPr>
          <p:spPr>
            <a:xfrm>
              <a:off x="6711975" y="2584744"/>
              <a:ext cx="4937251" cy="728642"/>
            </a:xfrm>
            <a:prstGeom prst="snipRound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1400" u="sng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สื่อสาร </a:t>
              </a:r>
              <a: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ผ่านกิจกรรม </a:t>
              </a:r>
              <a:b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- สื่อสัญจร / </a:t>
              </a:r>
              <a:r>
                <a:rPr lang="en-US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Facebook </a:t>
              </a:r>
              <a: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ของ สพจ.</a:t>
              </a:r>
              <a:b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- ส่งให้ </a:t>
              </a:r>
              <a:r>
                <a:rPr lang="en-US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PR </a:t>
              </a:r>
              <a: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ส่วนกลางช่วยขยายผล </a:t>
              </a:r>
              <a:endParaRPr lang="en-US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5" name="Pentagon 14"/>
            <p:cNvSpPr/>
            <p:nvPr/>
          </p:nvSpPr>
          <p:spPr>
            <a:xfrm>
              <a:off x="6324600" y="1567186"/>
              <a:ext cx="371497" cy="217481"/>
            </a:xfrm>
            <a:prstGeom prst="homePlat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/>
            </a:p>
          </p:txBody>
        </p:sp>
        <p:sp>
          <p:nvSpPr>
            <p:cNvPr id="16" name="Pentagon 15"/>
            <p:cNvSpPr/>
            <p:nvPr/>
          </p:nvSpPr>
          <p:spPr>
            <a:xfrm>
              <a:off x="6324600" y="3516580"/>
              <a:ext cx="371497" cy="217481"/>
            </a:xfrm>
            <a:prstGeom prst="homePlat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/>
            </a:p>
          </p:txBody>
        </p:sp>
        <p:sp>
          <p:nvSpPr>
            <p:cNvPr id="17" name="Snip and Round Single Corner Rectangle 16"/>
            <p:cNvSpPr/>
            <p:nvPr/>
          </p:nvSpPr>
          <p:spPr>
            <a:xfrm>
              <a:off x="6324600" y="4907191"/>
              <a:ext cx="2235334" cy="368289"/>
            </a:xfrm>
            <a:prstGeom prst="snip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1400" b="1" dirty="0">
                  <a:solidFill>
                    <a:schemeClr val="accent3">
                      <a:lumMod val="5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“ขยายคนรัก”</a:t>
              </a:r>
            </a:p>
          </p:txBody>
        </p:sp>
        <p:sp>
          <p:nvSpPr>
            <p:cNvPr id="18" name="Pentagon 17"/>
            <p:cNvSpPr/>
            <p:nvPr/>
          </p:nvSpPr>
          <p:spPr>
            <a:xfrm>
              <a:off x="6340476" y="4969101"/>
              <a:ext cx="371497" cy="217482"/>
            </a:xfrm>
            <a:prstGeom prst="homePlate">
              <a:avLst/>
            </a:prstGeom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th-TH"/>
            </a:p>
          </p:txBody>
        </p:sp>
        <p:sp>
          <p:nvSpPr>
            <p:cNvPr id="19" name="Snip and Round Single Corner Rectangle 18"/>
            <p:cNvSpPr/>
            <p:nvPr/>
          </p:nvSpPr>
          <p:spPr>
            <a:xfrm>
              <a:off x="6711973" y="4454766"/>
              <a:ext cx="4952033" cy="322254"/>
            </a:xfrm>
            <a:prstGeom prst="snipRoundRect">
              <a:avLst/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อาทิ การประท้วงเกี่ยวกับโรงไฟฟ้า การทุจริต ฯลฯ </a:t>
              </a:r>
              <a:endParaRPr lang="en-US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0" name="Snip and Round Single Corner Rectangle 19"/>
            <p:cNvSpPr/>
            <p:nvPr/>
          </p:nvSpPr>
          <p:spPr>
            <a:xfrm>
              <a:off x="6696096" y="5316754"/>
              <a:ext cx="4952033" cy="319078"/>
            </a:xfrm>
            <a:prstGeom prst="snip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คือ การสร้างฐานคนในพื้นที่ผ่านกิจกรรมต่างๆ </a:t>
              </a:r>
              <a:r>
                <a:rPr lang="en-US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	</a:t>
              </a:r>
            </a:p>
          </p:txBody>
        </p:sp>
        <p:sp>
          <p:nvSpPr>
            <p:cNvPr id="21" name="Snip and Round Single Corner Rectangle 20"/>
            <p:cNvSpPr/>
            <p:nvPr/>
          </p:nvSpPr>
          <p:spPr>
            <a:xfrm>
              <a:off x="6708796" y="5675519"/>
              <a:ext cx="4952033" cy="785789"/>
            </a:xfrm>
            <a:prstGeom prst="snipRound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อาทิ </a:t>
              </a:r>
              <a:endParaRPr lang="en-US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285750" indent="-285750" eaLnBrk="1" fontAlgn="auto" hangingPunct="1">
                <a:spcBef>
                  <a:spcPts val="0"/>
                </a:spcBef>
                <a:spcAft>
                  <a:spcPts val="0"/>
                </a:spcAft>
                <a:buFontTx/>
                <a:buChar char="-"/>
                <a:defRPr/>
              </a:pPr>
              <a: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อสพน.</a:t>
              </a:r>
              <a:r>
                <a:rPr lang="en-US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                        - Facebook </a:t>
              </a:r>
              <a: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สพจ.</a:t>
              </a:r>
            </a:p>
            <a:p>
              <a:pPr marL="285750" indent="-285750" eaLnBrk="1" fontAlgn="auto" hangingPunct="1">
                <a:spcBef>
                  <a:spcPts val="0"/>
                </a:spcBef>
                <a:spcAft>
                  <a:spcPts val="0"/>
                </a:spcAft>
                <a:buFontTx/>
                <a:buChar char="-"/>
                <a:defRPr/>
              </a:pPr>
              <a:r>
                <a:rPr lang="th-TH" sz="1400" dirty="0">
                  <a:solidFill>
                    <a:schemeClr val="tx1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โครงการพลังงานชุมชน    - อื่นๆ </a:t>
              </a:r>
              <a:endParaRPr lang="en-US" sz="14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2" name="Rounded Rectangle 21"/>
            <p:cNvSpPr/>
            <p:nvPr/>
          </p:nvSpPr>
          <p:spPr>
            <a:xfrm>
              <a:off x="6340476" y="775046"/>
              <a:ext cx="5419719" cy="649269"/>
            </a:xfrm>
            <a:prstGeom prst="round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th-TH" sz="14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ลยุทธ์การสื่อสาร “ขึงข่าวดี ขยี้ข่าวร้าย ขยายคนรัก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82650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CC8D51-5B81-4427-8368-374905FFCA51}" type="slidenum">
              <a:rPr kumimoji="0" lang="en-US" altLang="th-TH" sz="10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en-US" altLang="th-TH" sz="10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sp>
        <p:nvSpPr>
          <p:cNvPr id="5" name="Title 2"/>
          <p:cNvSpPr txBox="1">
            <a:spLocks/>
          </p:cNvSpPr>
          <p:nvPr/>
        </p:nvSpPr>
        <p:spPr bwMode="auto">
          <a:xfrm>
            <a:off x="0" y="0"/>
            <a:ext cx="9161463" cy="442913"/>
          </a:xfrm>
          <a:prstGeom prst="rect">
            <a:avLst/>
          </a:prstGeom>
          <a:noFill/>
          <a:ln>
            <a:noFill/>
          </a:ln>
          <a:extLst/>
        </p:spPr>
        <p:txBody>
          <a:bodyPr lIns="72000" rIns="72000" anchor="ctr"/>
          <a:lstStyle>
            <a:lvl1pPr>
              <a:spcBef>
                <a:spcPct val="20000"/>
              </a:spcBef>
              <a:buChar char="•"/>
              <a:defRPr sz="32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1pPr>
            <a:lvl2pPr marL="742950" indent="-285750">
              <a:spcBef>
                <a:spcPct val="20000"/>
              </a:spcBef>
              <a:buChar char="–"/>
              <a:defRPr sz="28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2pPr>
            <a:lvl3pPr marL="1143000" indent="-228600"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3pPr>
            <a:lvl4pPr marL="1600200" indent="-22860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4pPr>
            <a:lvl5pPr marL="2057400" indent="-22860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Arial" panose="020B0604020202020204" pitchFamily="34" charset="0"/>
                <a:cs typeface="Angsana New" panose="02020603050405020304" pitchFamily="18" charset="-34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altLang="th-TH" sz="20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Tahoma" panose="020B0604030504040204" pitchFamily="34" charset="0"/>
                <a:ea typeface="ＭＳ Ｐゴシック"/>
                <a:cs typeface="Tahoma" panose="020B0604030504040204" pitchFamily="34" charset="0"/>
              </a:rPr>
              <a:t> ช่อ</a:t>
            </a:r>
            <a:r>
              <a:rPr lang="th-TH" altLang="th-TH" sz="2000" b="1" kern="1200" dirty="0" smtClean="0">
                <a:latin typeface="Tahoma" panose="020B0604030504040204" pitchFamily="34" charset="0"/>
                <a:ea typeface="ＭＳ Ｐゴシック"/>
                <a:cs typeface="Tahoma" panose="020B0604030504040204" pitchFamily="34" charset="0"/>
              </a:rPr>
              <a:t>งทางการข่าวสารของกระทรวงพลังงาน</a:t>
            </a:r>
          </a:p>
        </p:txBody>
      </p:sp>
      <p:pic>
        <p:nvPicPr>
          <p:cNvPr id="6" name="รูปภาพ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50" y="5807025"/>
            <a:ext cx="741821" cy="358279"/>
          </a:xfrm>
          <a:prstGeom prst="rect">
            <a:avLst/>
          </a:prstGeom>
        </p:spPr>
      </p:pic>
      <p:sp>
        <p:nvSpPr>
          <p:cNvPr id="7" name="สี่เหลี่ยมผืนผ้า 4"/>
          <p:cNvSpPr/>
          <p:nvPr/>
        </p:nvSpPr>
        <p:spPr>
          <a:xfrm>
            <a:off x="971600" y="5805264"/>
            <a:ext cx="249988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 err="1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nistryofenergy</a:t>
            </a:r>
            <a:endParaRPr lang="en-GB" sz="2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8" name="รูปภาพ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176" t="3937" r="13665" b="28142"/>
          <a:stretch/>
        </p:blipFill>
        <p:spPr>
          <a:xfrm>
            <a:off x="138523" y="3587835"/>
            <a:ext cx="4151297" cy="2137609"/>
          </a:xfrm>
          <a:prstGeom prst="rect">
            <a:avLst/>
          </a:prstGeom>
        </p:spPr>
      </p:pic>
      <p:pic>
        <p:nvPicPr>
          <p:cNvPr id="9" name="รูปภาพ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29" t="25593" r="15877" b="10424"/>
          <a:stretch/>
        </p:blipFill>
        <p:spPr>
          <a:xfrm>
            <a:off x="426555" y="761244"/>
            <a:ext cx="4001429" cy="2016224"/>
          </a:xfrm>
          <a:prstGeom prst="rect">
            <a:avLst/>
          </a:prstGeom>
        </p:spPr>
      </p:pic>
      <p:sp>
        <p:nvSpPr>
          <p:cNvPr id="10" name="สี่เหลี่ยมผืนผ้า 28"/>
          <p:cNvSpPr/>
          <p:nvPr/>
        </p:nvSpPr>
        <p:spPr>
          <a:xfrm>
            <a:off x="890371" y="2821630"/>
            <a:ext cx="552421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www.energy.go.th</a:t>
            </a:r>
          </a:p>
        </p:txBody>
      </p:sp>
      <p:pic>
        <p:nvPicPr>
          <p:cNvPr id="11" name="รูปภาพ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09" t="10832" r="3234" b="46401"/>
          <a:stretch/>
        </p:blipFill>
        <p:spPr>
          <a:xfrm>
            <a:off x="5801547" y="606860"/>
            <a:ext cx="2935981" cy="2423407"/>
          </a:xfrm>
          <a:prstGeom prst="rect">
            <a:avLst/>
          </a:prstGeom>
        </p:spPr>
      </p:pic>
      <p:sp>
        <p:nvSpPr>
          <p:cNvPr id="12" name="สี่เหลี่ยมผืนผ้า 30"/>
          <p:cNvSpPr/>
          <p:nvPr/>
        </p:nvSpPr>
        <p:spPr>
          <a:xfrm>
            <a:off x="6414588" y="2999813"/>
            <a:ext cx="232294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ระทรวงพลังงาน</a:t>
            </a:r>
            <a:endParaRPr lang="en-GB" sz="2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3" name="รูปภาพ 1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96" t="15548" r="9046" b="6688"/>
          <a:stretch/>
        </p:blipFill>
        <p:spPr>
          <a:xfrm>
            <a:off x="5176000" y="3501008"/>
            <a:ext cx="3729059" cy="2475594"/>
          </a:xfrm>
          <a:prstGeom prst="rect">
            <a:avLst/>
          </a:prstGeom>
        </p:spPr>
      </p:pic>
      <p:sp>
        <p:nvSpPr>
          <p:cNvPr id="14" name="สี่เหลี่ยมผืนผ้า 31"/>
          <p:cNvSpPr/>
          <p:nvPr/>
        </p:nvSpPr>
        <p:spPr>
          <a:xfrm>
            <a:off x="6799604" y="6021288"/>
            <a:ext cx="229371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ระทรวงพลังงาน</a:t>
            </a:r>
            <a:endParaRPr lang="en-GB" sz="20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5" name="รูปภาพ 1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88024" y="6021288"/>
            <a:ext cx="2016224" cy="576064"/>
          </a:xfrm>
          <a:prstGeom prst="rect">
            <a:avLst/>
          </a:prstGeom>
        </p:spPr>
      </p:pic>
      <p:pic>
        <p:nvPicPr>
          <p:cNvPr id="16" name="รูปภาพ 1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60032" y="5661248"/>
            <a:ext cx="1581804" cy="352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8476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0" y="2743200"/>
            <a:ext cx="9067800" cy="1219200"/>
          </a:xfrm>
          <a:noFill/>
          <a:ln>
            <a:noFill/>
          </a:ln>
        </p:spPr>
        <p:txBody>
          <a:bodyPr/>
          <a:lstStyle/>
          <a:p>
            <a:pPr algn="ctr"/>
            <a:r>
              <a:rPr lang="th-TH" dirty="0">
                <a:solidFill>
                  <a:schemeClr val="tx1"/>
                </a:solidFill>
              </a:rPr>
              <a:t/>
            </a:r>
            <a:br>
              <a:rPr lang="th-TH" dirty="0">
                <a:solidFill>
                  <a:schemeClr val="tx1"/>
                </a:solidFill>
              </a:rPr>
            </a:br>
            <a:r>
              <a:rPr lang="th-TH" dirty="0" smtClean="0">
                <a:solidFill>
                  <a:schemeClr val="tx1"/>
                </a:solidFill>
              </a:rPr>
              <a:t>ขอบคุณครับ</a:t>
            </a:r>
            <a:r>
              <a:rPr lang="th-TH" dirty="0">
                <a:solidFill>
                  <a:schemeClr val="tx1"/>
                </a:solidFill>
              </a:rPr>
              <a:t/>
            </a:r>
            <a:br>
              <a:rPr lang="th-TH" dirty="0">
                <a:solidFill>
                  <a:schemeClr val="tx1"/>
                </a:solidFill>
              </a:rPr>
            </a:b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CC8D51-5B81-4427-8368-374905FFCA51}" type="slidenum">
              <a:rPr kumimoji="0" lang="en-US" altLang="th-TH" sz="10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altLang="th-TH" sz="10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2685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81801" y="6411568"/>
            <a:ext cx="1905000" cy="446431"/>
          </a:xfrm>
          <a:prstGeom prst="rect">
            <a:avLst/>
          </a:prstGeom>
          <a:solidFill>
            <a:srgbClr val="FFFFFF"/>
          </a:solidFill>
          <a:ln w="25400" cap="flat">
            <a:noFill/>
            <a:prstDash val="solid"/>
            <a:round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5719" tIns="45719" rIns="45719" bIns="45719" numCol="1" spcCol="38100" rtlCol="0" anchor="ctr">
            <a:spAutoFit/>
          </a:bodyPr>
          <a:lstStyle/>
          <a:p>
            <a: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61076" y="650897"/>
            <a:ext cx="4686871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th-TH" sz="1300" b="1" dirty="0">
                <a:solidFill>
                  <a:srgbClr val="33333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 ตุลาคม 2545</a:t>
            </a:r>
            <a:r>
              <a:rPr lang="th-TH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th-TH" sz="13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th-TH" sz="1300" dirty="0">
                <a:solidFill>
                  <a:srgbClr val="33333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มีพระบรมราช</a:t>
            </a:r>
            <a:r>
              <a:rPr lang="th-TH" sz="1300" dirty="0" smtClean="0">
                <a:solidFill>
                  <a:srgbClr val="33333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โองการตราพระราชบัญญัติ</a:t>
            </a:r>
            <a:r>
              <a:rPr lang="th-TH" sz="1300" dirty="0">
                <a:solidFill>
                  <a:srgbClr val="33333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ระเบียบบริหารราชการแผ่นดิน </a:t>
            </a:r>
            <a:r>
              <a:rPr lang="th-TH" sz="1300" dirty="0" smtClean="0">
                <a:solidFill>
                  <a:srgbClr val="33333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th-TH" sz="1300" dirty="0">
                <a:solidFill>
                  <a:srgbClr val="33333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ฉบับที่ 5) พ.ศ. 2545 และ พระราชบัญญัติปรับปรุงกระทรวงทบวง กรม </a:t>
            </a:r>
            <a:r>
              <a:rPr lang="th-TH" sz="1300" dirty="0" smtClean="0">
                <a:solidFill>
                  <a:srgbClr val="33333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พ.ศ. </a:t>
            </a:r>
            <a:r>
              <a:rPr lang="th-TH" sz="1300" dirty="0">
                <a:solidFill>
                  <a:srgbClr val="33333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545 เป็นกฎหมายถือเป็นวันแรกแห่งการ</a:t>
            </a:r>
            <a:r>
              <a:rPr lang="th-TH" sz="1300" dirty="0" smtClean="0">
                <a:solidFill>
                  <a:srgbClr val="33333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่อตั้งกระทรวง</a:t>
            </a:r>
            <a:r>
              <a:rPr lang="th-TH" sz="1300" dirty="0">
                <a:solidFill>
                  <a:srgbClr val="333333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พลังงาน</a:t>
            </a:r>
            <a:endParaRPr lang="en-US" sz="13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7" name="Title 2"/>
          <p:cNvSpPr>
            <a:spLocks noGrp="1"/>
          </p:cNvSpPr>
          <p:nvPr>
            <p:ph type="title"/>
          </p:nvPr>
        </p:nvSpPr>
        <p:spPr>
          <a:xfrm>
            <a:off x="213818" y="234864"/>
            <a:ext cx="8794116" cy="298034"/>
          </a:xfrm>
        </p:spPr>
        <p:txBody>
          <a:bodyPr>
            <a:noAutofit/>
          </a:bodyPr>
          <a:lstStyle/>
          <a:p>
            <a:r>
              <a:rPr lang="th-TH" sz="20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ระทรวงพลังงาน ก่อตั้งเมื่อ พ.ศ. 2545</a:t>
            </a:r>
            <a:endParaRPr lang="en-US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46" name="Group 45"/>
          <p:cNvGrpSpPr/>
          <p:nvPr/>
        </p:nvGrpSpPr>
        <p:grpSpPr>
          <a:xfrm>
            <a:off x="147312" y="914400"/>
            <a:ext cx="8844288" cy="5943600"/>
            <a:chOff x="147312" y="838200"/>
            <a:chExt cx="8844288" cy="5943600"/>
          </a:xfrm>
        </p:grpSpPr>
        <p:grpSp>
          <p:nvGrpSpPr>
            <p:cNvPr id="42" name="Group 41"/>
            <p:cNvGrpSpPr/>
            <p:nvPr/>
          </p:nvGrpSpPr>
          <p:grpSpPr>
            <a:xfrm>
              <a:off x="4847947" y="838200"/>
              <a:ext cx="4143653" cy="5943600"/>
              <a:chOff x="4835077" y="0"/>
              <a:chExt cx="4143653" cy="5943600"/>
            </a:xfrm>
          </p:grpSpPr>
          <p:pic>
            <p:nvPicPr>
              <p:cNvPr id="17" name="Picture 16"/>
              <p:cNvPicPr>
                <a:picLocks noChangeAspect="1"/>
              </p:cNvPicPr>
              <p:nvPr/>
            </p:nvPicPr>
            <p:blipFill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4835077" y="3659561"/>
                <a:ext cx="2863593" cy="696844"/>
              </a:xfrm>
              <a:prstGeom prst="rect">
                <a:avLst/>
              </a:prstGeom>
            </p:spPr>
          </p:pic>
          <p:pic>
            <p:nvPicPr>
              <p:cNvPr id="3" name="Picture 4" descr="Image result for à¸à¸£à¸°à¸à¸£à¸§à¸à¸à¸¥à¸±à¸à¸à¸²à¸">
                <a:extLst>
                  <a:ext uri="{FF2B5EF4-FFF2-40B4-BE49-F238E27FC236}">
                    <a16:creationId xmlns:a16="http://schemas.microsoft.com/office/drawing/2014/main" id="{B0F7F76F-4342-4A42-A4C7-8001B098594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 bwMode="auto">
              <a:xfrm>
                <a:off x="5715000" y="147956"/>
                <a:ext cx="2755669" cy="65687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5" name="Picture 14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112047" y="2423666"/>
                <a:ext cx="2361138" cy="528018"/>
              </a:xfrm>
              <a:prstGeom prst="rect">
                <a:avLst/>
              </a:prstGeom>
            </p:spPr>
          </p:pic>
          <p:pic>
            <p:nvPicPr>
              <p:cNvPr id="16" name="Picture 15"/>
              <p:cNvPicPr>
                <a:picLocks noChangeAspect="1"/>
              </p:cNvPicPr>
              <p:nvPr/>
            </p:nvPicPr>
            <p:blipFill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5131051" y="973247"/>
                <a:ext cx="2012544" cy="644618"/>
              </a:xfrm>
              <a:prstGeom prst="rect">
                <a:avLst/>
              </a:prstGeom>
            </p:spPr>
          </p:pic>
          <p:pic>
            <p:nvPicPr>
              <p:cNvPr id="18" name="Picture 17"/>
              <p:cNvPicPr>
                <a:picLocks noChangeAspect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12914" b="12914"/>
              <a:stretch/>
            </p:blipFill>
            <p:spPr>
              <a:xfrm>
                <a:off x="5131051" y="5010285"/>
                <a:ext cx="2249330" cy="632183"/>
              </a:xfrm>
              <a:prstGeom prst="rect">
                <a:avLst/>
              </a:prstGeom>
            </p:spPr>
          </p:pic>
          <p:pic>
            <p:nvPicPr>
              <p:cNvPr id="20" name="Picture 19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822907" y="4861648"/>
                <a:ext cx="668949" cy="754426"/>
              </a:xfrm>
              <a:prstGeom prst="rect">
                <a:avLst/>
              </a:prstGeom>
            </p:spPr>
          </p:pic>
          <p:pic>
            <p:nvPicPr>
              <p:cNvPr id="21" name="Picture 20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73185" y="1090837"/>
                <a:ext cx="990600" cy="396240"/>
              </a:xfrm>
              <a:prstGeom prst="rect">
                <a:avLst/>
              </a:prstGeom>
            </p:spPr>
          </p:pic>
          <p:sp>
            <p:nvSpPr>
              <p:cNvPr id="31" name="Rectangle 30"/>
              <p:cNvSpPr/>
              <p:nvPr/>
            </p:nvSpPr>
            <p:spPr>
              <a:xfrm>
                <a:off x="5029200" y="0"/>
                <a:ext cx="3949530" cy="5943600"/>
              </a:xfrm>
              <a:prstGeom prst="rect">
                <a:avLst/>
              </a:prstGeom>
              <a:noFill/>
              <a:ln w="25400" cap="flat">
                <a:solidFill>
                  <a:schemeClr val="accent3">
                    <a:lumMod val="60000"/>
                    <a:lumOff val="40000"/>
                  </a:schemeClr>
                </a:solidFill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sp>
          <p:nvSpPr>
            <p:cNvPr id="32" name="Right Arrow 31"/>
            <p:cNvSpPr/>
            <p:nvPr/>
          </p:nvSpPr>
          <p:spPr>
            <a:xfrm>
              <a:off x="4661070" y="2024026"/>
              <a:ext cx="381001" cy="304800"/>
            </a:xfrm>
            <a:prstGeom prst="rightArrow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3" name="Right Arrow 32"/>
            <p:cNvSpPr/>
            <p:nvPr/>
          </p:nvSpPr>
          <p:spPr>
            <a:xfrm>
              <a:off x="4657446" y="3345266"/>
              <a:ext cx="381001" cy="304800"/>
            </a:xfrm>
            <a:prstGeom prst="rightArrow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4" name="Right Arrow 33"/>
            <p:cNvSpPr/>
            <p:nvPr/>
          </p:nvSpPr>
          <p:spPr>
            <a:xfrm>
              <a:off x="4687170" y="4724366"/>
              <a:ext cx="381001" cy="304800"/>
            </a:xfrm>
            <a:prstGeom prst="rightArrow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35" name="Right Arrow 34"/>
            <p:cNvSpPr/>
            <p:nvPr/>
          </p:nvSpPr>
          <p:spPr>
            <a:xfrm>
              <a:off x="4664691" y="6176066"/>
              <a:ext cx="381001" cy="304800"/>
            </a:xfrm>
            <a:prstGeom prst="rightArrow">
              <a:avLst/>
            </a:prstGeom>
            <a:solidFill>
              <a:schemeClr val="accent2">
                <a:lumMod val="40000"/>
                <a:lumOff val="60000"/>
              </a:schemeClr>
            </a:solidFill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9" tIns="45719" rIns="45719" bIns="45719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45" name="Group 44"/>
            <p:cNvGrpSpPr/>
            <p:nvPr/>
          </p:nvGrpSpPr>
          <p:grpSpPr>
            <a:xfrm>
              <a:off x="147312" y="1677525"/>
              <a:ext cx="4514249" cy="5090618"/>
              <a:chOff x="147312" y="1677525"/>
              <a:chExt cx="4514249" cy="5090618"/>
            </a:xfrm>
          </p:grpSpPr>
          <p:pic>
            <p:nvPicPr>
              <p:cNvPr id="6" name="Picture 4" descr="Image result for à¸à¸£à¸°à¸à¸£à¸§à¸à¸§à¸´à¸à¸¢à¸²à¸¨à¸²à¸ªà¸à¸£à¹à¹à¸¥à¸°à¹à¸à¸à¹à¸à¹à¸¥à¸¢à¸µ logo"/>
              <p:cNvPicPr>
                <a:picLocks noChangeAspect="1" noChangeArrowheads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1295" y="4484421"/>
                <a:ext cx="788369" cy="781742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01295" y="5562600"/>
                <a:ext cx="745130" cy="729537"/>
              </a:xfrm>
              <a:prstGeom prst="rect">
                <a:avLst/>
              </a:prstGeom>
            </p:spPr>
          </p:pic>
          <p:sp>
            <p:nvSpPr>
              <p:cNvPr id="8" name="TextBox 7"/>
              <p:cNvSpPr txBox="1"/>
              <p:nvPr/>
            </p:nvSpPr>
            <p:spPr>
              <a:xfrm>
                <a:off x="173554" y="6330712"/>
                <a:ext cx="1597806" cy="261608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t">
                <a:spAutoFit/>
              </a:bodyPr>
              <a:lstStyle/>
              <a:p>
                <a:pPr marL="0" marR="0" indent="0" algn="ctr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th-TH" sz="1100" b="0" i="0" u="none" strike="noStrike" cap="none" spc="0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FillTx/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  <a:sym typeface="Arial"/>
                  </a:rPr>
                  <a:t>สำนักนายกรัฐมนตรี</a:t>
                </a:r>
                <a:endParaRPr kumimoji="0" lang="en-US" sz="1100" b="0" i="0" u="none" strike="noStrike" cap="none" spc="0" normalizeH="0" baseline="0" dirty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endParaRPr>
              </a:p>
            </p:txBody>
          </p:sp>
          <p:pic>
            <p:nvPicPr>
              <p:cNvPr id="10" name="Picture 9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67642" y="2866299"/>
                <a:ext cx="840409" cy="790931"/>
              </a:xfrm>
              <a:prstGeom prst="rect">
                <a:avLst/>
              </a:prstGeom>
            </p:spPr>
          </p:pic>
          <p:pic>
            <p:nvPicPr>
              <p:cNvPr id="19" name="Picture 18"/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787055" y="5562600"/>
                <a:ext cx="598898" cy="809909"/>
              </a:xfrm>
              <a:prstGeom prst="rect">
                <a:avLst/>
              </a:prstGeom>
            </p:spPr>
          </p:pic>
          <p:sp>
            <p:nvSpPr>
              <p:cNvPr id="22" name="Rectangle 21"/>
              <p:cNvSpPr/>
              <p:nvPr/>
            </p:nvSpPr>
            <p:spPr>
              <a:xfrm>
                <a:off x="1541040" y="1752600"/>
                <a:ext cx="2967630" cy="93871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th-TH" sz="1100" dirty="0" smtClean="0">
                    <a:solidFill>
                      <a:srgbClr val="333333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กองเชื้อเพลิง</a:t>
                </a:r>
                <a:r>
                  <a:rPr lang="th-TH" sz="1100" dirty="0">
                    <a:solidFill>
                      <a:srgbClr val="333333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ธรรมชาติ กองวิเคราะห์ (ฝ่ายวิเคราะห์เชื้อเพลิงธรรมชาติ) กรมทรัพยากรธรณี </a:t>
                </a:r>
                <a:endParaRPr lang="th-TH" sz="1100" dirty="0" smtClean="0">
                  <a:solidFill>
                    <a:srgbClr val="33333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pPr marL="171450" indent="-171450">
                  <a:buFont typeface="Wingdings" panose="05000000000000000000" pitchFamily="2" charset="2"/>
                  <a:buChar char="§"/>
                </a:pPr>
                <a:r>
                  <a:rPr lang="th-TH" sz="1100" dirty="0" smtClean="0">
                    <a:solidFill>
                      <a:srgbClr val="333333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กอง</a:t>
                </a:r>
                <a:r>
                  <a:rPr lang="th-TH" sz="1100" dirty="0">
                    <a:solidFill>
                      <a:srgbClr val="333333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อุตสาหกรรมน้ำมัน สำนักงานปลัดกระทรวงอุตสาหกรรม</a:t>
                </a:r>
                <a:endParaRPr lang="en-US" sz="11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1393961" y="4657786"/>
                <a:ext cx="1935145" cy="430887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th-TH" sz="1100" dirty="0" smtClean="0">
                    <a:solidFill>
                      <a:srgbClr val="333333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กระทรวงวิทยาศาสตร์ฯ</a:t>
                </a:r>
              </a:p>
              <a:p>
                <a:r>
                  <a:rPr lang="th-TH" sz="1100" dirty="0" smtClean="0">
                    <a:solidFill>
                      <a:srgbClr val="333333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กรม</a:t>
                </a:r>
                <a:r>
                  <a:rPr lang="th-TH" sz="1100" dirty="0">
                    <a:solidFill>
                      <a:srgbClr val="333333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พัฒนาและส่งเสริมพลังงาน</a:t>
                </a:r>
                <a:endParaRPr lang="en-US" sz="11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382178" y="3648970"/>
                <a:ext cx="1965119" cy="6001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th-TH" sz="1100" dirty="0" smtClean="0">
                    <a:solidFill>
                      <a:srgbClr val="333333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กระทรวงมหาดไทย</a:t>
                </a:r>
                <a:endParaRPr lang="en-US" sz="1100" dirty="0" smtClean="0">
                  <a:solidFill>
                    <a:srgbClr val="333333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r>
                  <a:rPr lang="th-TH" sz="1100" dirty="0" smtClean="0">
                    <a:solidFill>
                      <a:srgbClr val="333333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กอง</a:t>
                </a:r>
                <a:r>
                  <a:rPr lang="th-TH" sz="1100" dirty="0">
                    <a:solidFill>
                      <a:srgbClr val="333333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ควบคุมน้ำมันเชื้อเพลิงและก๊าซ กรมโยธา</a:t>
                </a:r>
                <a:r>
                  <a:rPr lang="th-TH" sz="1100" dirty="0" err="1">
                    <a:solidFill>
                      <a:srgbClr val="333333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ธิ</a:t>
                </a:r>
                <a:r>
                  <a:rPr lang="th-TH" sz="1100" dirty="0">
                    <a:solidFill>
                      <a:srgbClr val="333333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การ </a:t>
                </a:r>
                <a:endParaRPr lang="en-US" sz="11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25" name="Rectangle 24"/>
              <p:cNvSpPr/>
              <p:nvPr/>
            </p:nvSpPr>
            <p:spPr>
              <a:xfrm>
                <a:off x="2522086" y="3628719"/>
                <a:ext cx="1687309" cy="600164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th-TH" sz="1100" dirty="0"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กระทรวงพาณิชย์</a:t>
                </a:r>
                <a:endParaRPr lang="en-US" sz="11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  <a:p>
                <a:r>
                  <a:rPr lang="th-TH" sz="1100" dirty="0" smtClean="0">
                    <a:solidFill>
                      <a:srgbClr val="333333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สำนัก</a:t>
                </a:r>
                <a:r>
                  <a:rPr lang="th-TH" sz="1100" dirty="0">
                    <a:solidFill>
                      <a:srgbClr val="333333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น้ำมันเชื้อเพลิง กรมทะเบียนการค้า </a:t>
                </a:r>
                <a:endParaRPr lang="en-US" sz="11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2422191" y="5789420"/>
                <a:ext cx="1894981" cy="43088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th-TH" sz="1100" dirty="0">
                    <a:solidFill>
                      <a:srgbClr val="333333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สำนักงาน</a:t>
                </a:r>
                <a:r>
                  <a:rPr lang="th-TH" sz="1100" dirty="0" smtClean="0">
                    <a:solidFill>
                      <a:srgbClr val="333333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คณะกรรมการ นโยบาย</a:t>
                </a:r>
                <a:r>
                  <a:rPr lang="th-TH" sz="1100" dirty="0">
                    <a:solidFill>
                      <a:srgbClr val="333333"/>
                    </a:solidFill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rPr>
                  <a:t>พลังงานแห่งชาติ</a:t>
                </a:r>
                <a:endParaRPr lang="en-US" sz="1100" dirty="0"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endParaRPr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147804" y="1677525"/>
                <a:ext cx="4513757" cy="990600"/>
              </a:xfrm>
              <a:prstGeom prst="rect">
                <a:avLst/>
              </a:prstGeom>
              <a:noFill/>
              <a:ln w="254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8" name="Rectangle 27"/>
              <p:cNvSpPr/>
              <p:nvPr/>
            </p:nvSpPr>
            <p:spPr>
              <a:xfrm>
                <a:off x="147313" y="2815731"/>
                <a:ext cx="4513757" cy="1463040"/>
              </a:xfrm>
              <a:prstGeom prst="rect">
                <a:avLst/>
              </a:prstGeom>
              <a:noFill/>
              <a:ln w="254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147313" y="4400143"/>
                <a:ext cx="4513757" cy="990600"/>
              </a:xfrm>
              <a:prstGeom prst="rect">
                <a:avLst/>
              </a:prstGeom>
              <a:noFill/>
              <a:ln w="254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147312" y="5487983"/>
                <a:ext cx="4513757" cy="1280160"/>
              </a:xfrm>
              <a:prstGeom prst="rect">
                <a:avLst/>
              </a:prstGeom>
              <a:noFill/>
              <a:ln w="25400" cap="flat">
                <a:solidFill>
                  <a:schemeClr val="accent6">
                    <a:lumMod val="60000"/>
                    <a:lumOff val="40000"/>
                  </a:schemeClr>
                </a:solidFill>
                <a:prstDash val="solid"/>
                <a:round/>
              </a:ln>
              <a:effectLst/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spcFirstLastPara="1" vertOverflow="overflow" horzOverflow="overflow" vert="horz" wrap="square" lIns="45719" tIns="45719" rIns="45719" bIns="45719" numCol="1" spcCol="38100" rtlCol="0" anchor="ctr">
                <a:spAutoFit/>
              </a:bodyPr>
              <a:lstStyle/>
              <a:p>
                <a:pPr marL="0" marR="0" indent="0" algn="l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800" b="0" i="0" u="none" strike="noStrike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FillTx/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pic>
            <p:nvPicPr>
              <p:cNvPr id="1026" name="Picture 2" descr="Image result for à¸¡à¸«à¸²à¸à¹à¸à¸¢ logo"/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1295" y="2871850"/>
                <a:ext cx="779830" cy="77983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028" name="Picture 4" descr="https://www.egov.go.th/upload/eservice-thumbnail/img_0c4ddc803545026d9012b45a57453734.png"/>
              <p:cNvPicPr>
                <a:picLocks noChangeAspect="1" noChangeArrowheads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01295" y="1716699"/>
                <a:ext cx="883175" cy="8831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80859318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th-TH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โครงสร้างและภารกิจ</a:t>
            </a:r>
            <a:endParaRPr lang="en-US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TextBox 3"/>
          <p:cNvSpPr txBox="1">
            <a:spLocks noChangeArrowheads="1"/>
          </p:cNvSpPr>
          <p:nvPr/>
        </p:nvSpPr>
        <p:spPr bwMode="auto">
          <a:xfrm>
            <a:off x="1214438" y="1405086"/>
            <a:ext cx="184150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  <a:cs typeface="Angsana New" pitchFamily="18" charset="-34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th-TH" sz="2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ngsana New" pitchFamily="18" charset="-34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298069" y="1154668"/>
            <a:ext cx="3040567" cy="4804654"/>
            <a:chOff x="236033" y="1592072"/>
            <a:chExt cx="3552536" cy="4804654"/>
          </a:xfrm>
        </p:grpSpPr>
        <p:sp>
          <p:nvSpPr>
            <p:cNvPr id="6" name="Rectangle 5"/>
            <p:cNvSpPr/>
            <p:nvPr/>
          </p:nvSpPr>
          <p:spPr>
            <a:xfrm>
              <a:off x="257912" y="1984406"/>
              <a:ext cx="3494088" cy="1922237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ประเทศไทยมีความมั่นคงด้านพลังงาน เป็นผู้นำเทคโนโลยีพลังงานในภูมิภาคเอเชียและประชาชนพึ่งพาตนเองได้ ภายในปี พ.ศ. 2579</a:t>
              </a:r>
            </a:p>
          </p:txBody>
        </p:sp>
        <p:sp>
          <p:nvSpPr>
            <p:cNvPr id="7" name="TextBox 18"/>
            <p:cNvSpPr txBox="1">
              <a:spLocks noChangeArrowheads="1"/>
            </p:cNvSpPr>
            <p:nvPr/>
          </p:nvSpPr>
          <p:spPr bwMode="auto">
            <a:xfrm>
              <a:off x="277019" y="1592072"/>
              <a:ext cx="3494193" cy="369332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b="1" i="0" u="none" strike="noStrike" kern="1200" cap="none" spc="0" normalizeH="0" baseline="0" noProof="0" dirty="0">
                  <a:ln w="1905"/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วิสัยทัศน์</a:t>
              </a:r>
            </a:p>
          </p:txBody>
        </p:sp>
        <p:sp>
          <p:nvSpPr>
            <p:cNvPr id="8" name="TextBox 19"/>
            <p:cNvSpPr txBox="1">
              <a:spLocks noChangeArrowheads="1"/>
            </p:cNvSpPr>
            <p:nvPr/>
          </p:nvSpPr>
          <p:spPr bwMode="auto">
            <a:xfrm>
              <a:off x="236033" y="4182872"/>
              <a:ext cx="3521926" cy="369332"/>
            </a:xfrm>
            <a:prstGeom prst="rect">
              <a:avLst/>
            </a:prstGeom>
            <a:noFill/>
            <a:ln>
              <a:noFill/>
              <a:headEnd/>
              <a:tailEnd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b="1" i="0" u="none" strike="noStrike" kern="1200" cap="none" spc="0" normalizeH="0" baseline="0" noProof="0" dirty="0">
                  <a:ln w="1905"/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พันธกิจ</a:t>
              </a:r>
            </a:p>
          </p:txBody>
        </p:sp>
        <p:sp>
          <p:nvSpPr>
            <p:cNvPr id="9" name="TextBox 6"/>
            <p:cNvSpPr txBox="1">
              <a:spLocks noChangeArrowheads="1"/>
            </p:cNvSpPr>
            <p:nvPr/>
          </p:nvSpPr>
          <p:spPr bwMode="auto">
            <a:xfrm>
              <a:off x="277019" y="4580844"/>
              <a:ext cx="3511550" cy="1815882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66700" algn="l"/>
                </a:tabLst>
                <a:defRPr/>
              </a:pPr>
              <a:endPara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66700" algn="l"/>
                </a:tabLst>
                <a:defRPr/>
              </a:pPr>
              <a:endParaRPr kumimoji="0" lang="th-TH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66700" algn="l"/>
                </a:tabLst>
                <a:defRPr/>
              </a:pPr>
              <a:r>
                <a:rPr kumimoji="0" lang="th-TH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เสริมสร้างความมั่นคงทางพลังงานเพื่อรองรับการเติบโตทางเศรษฐกิจ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66700" algn="l"/>
                </a:tabLst>
                <a:defRPr/>
              </a:pPr>
              <a:r>
                <a:rPr kumimoji="0" lang="th-TH" sz="140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และคุณภาพชีวิตที่เป็นมิตรต่อสิ่งแวดล้อม</a:t>
              </a:r>
              <a:endPara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66700" algn="l"/>
                </a:tabLst>
                <a:defRPr/>
              </a:pPr>
              <a:endPara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66700" algn="l"/>
                </a:tabLst>
                <a:defRPr/>
              </a:pPr>
              <a:endPara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graphicFrame>
        <p:nvGraphicFramePr>
          <p:cNvPr id="10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9033348"/>
              </p:ext>
            </p:extLst>
          </p:nvPr>
        </p:nvGraphicFramePr>
        <p:xfrm>
          <a:off x="3581400" y="5040495"/>
          <a:ext cx="5105401" cy="1165781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7956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319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7583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348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6707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18990">
                <a:tc gridSpan="5">
                  <a:txBody>
                    <a:bodyPr/>
                    <a:lstStyle>
                      <a:lvl1pPr marL="0" algn="l" defTabSz="914400" rtl="0" eaLnBrk="1" latinLnBrk="0" hangingPunct="1">
                        <a:defRPr sz="2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2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2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2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2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2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2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2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2800" b="1" kern="1200">
                          <a:solidFill>
                            <a:schemeClr val="lt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th-TH" sz="14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อัตรากำลังของกระทรวงพลังงาน</a:t>
                      </a:r>
                      <a:r>
                        <a:rPr lang="en-US" sz="14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th-TH" sz="14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ณ พฤษภาคม 2562</a:t>
                      </a:r>
                      <a:endParaRPr lang="en-US" sz="1400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48" marR="91448" marT="45736" marB="45736" anchor="ctr"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h-TH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80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th-TH" sz="11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บุคลากร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48" marR="91448" marT="45736" marB="4573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r"/>
                      <a:r>
                        <a:rPr lang="th-TH" sz="11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ข้าราชการ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48" marR="91448" marT="45736" marB="4573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r"/>
                      <a:r>
                        <a:rPr lang="th-TH" sz="11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ลูกจ้างประจำ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48" marR="91448" marT="45736" marB="4573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r"/>
                      <a:r>
                        <a:rPr lang="th-TH" sz="11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พนักงานราชการ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48" marR="91448" marT="45736" marB="45736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r"/>
                      <a:r>
                        <a:rPr lang="th-TH" sz="110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รวม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48" marR="91448" marT="45736" marB="45736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587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1pPr>
                      <a:lvl2pPr marL="4572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2pPr>
                      <a:lvl3pPr marL="9144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3pPr>
                      <a:lvl4pPr marL="13716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4pPr>
                      <a:lvl5pPr marL="18288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5pPr>
                      <a:lvl6pPr marL="22860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6pPr>
                      <a:lvl7pPr marL="27432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7pPr>
                      <a:lvl8pPr marL="32004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8pPr>
                      <a:lvl9pPr marL="3657600" algn="l" defTabSz="914400" rtl="0" eaLnBrk="1" latinLnBrk="0" hangingPunct="1">
                        <a:defRPr sz="2800" kern="1200">
                          <a:solidFill>
                            <a:schemeClr val="dk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/>
                      <a:r>
                        <a:rPr lang="th-TH" sz="1400" baseline="0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อัตรา</a:t>
                      </a:r>
                      <a:endParaRPr lang="en-US" sz="1400" b="1" dirty="0">
                        <a:solidFill>
                          <a:schemeClr val="tx1"/>
                        </a:solidFill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1448" marR="91448" marT="45736" marB="45736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h-TH" sz="14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</a:t>
                      </a:r>
                      <a:r>
                        <a:rPr lang="en-GB" sz="14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</a:t>
                      </a:r>
                      <a:r>
                        <a:rPr lang="th-TH" sz="14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574</a:t>
                      </a:r>
                      <a:endParaRPr lang="th-TH" sz="1400" b="1" i="0" u="none" strike="noStrike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h-TH" sz="14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54</a:t>
                      </a:r>
                      <a:endParaRPr lang="th-TH" sz="1400" b="1" i="0" u="none" strike="noStrike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h-TH" sz="14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60</a:t>
                      </a:r>
                      <a:endParaRPr lang="th-TH" sz="1400" b="1" i="0" u="none" strike="noStrike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th-TH" sz="1400" u="none" strike="noStrike" dirty="0"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2,588</a:t>
                      </a:r>
                      <a:endParaRPr lang="th-TH" sz="1400" b="1" i="0" u="none" strike="noStrike" dirty="0">
                        <a:solidFill>
                          <a:schemeClr val="tx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11" name="Slide Number Placeholder 1"/>
          <p:cNvSpPr txBox="1">
            <a:spLocks/>
          </p:cNvSpPr>
          <p:nvPr/>
        </p:nvSpPr>
        <p:spPr>
          <a:xfrm>
            <a:off x="6859588" y="6473805"/>
            <a:ext cx="2133600" cy="365125"/>
          </a:xfrm>
          <a:prstGeom prst="rect">
            <a:avLst/>
          </a:prstGeom>
        </p:spPr>
        <p:txBody>
          <a:bodyPr/>
          <a:lstStyle>
            <a:defPPr marL="0" marR="0" indent="0" algn="l" defTabSz="9144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1pPr>
            <a:lvl2pPr marL="0" marR="0" indent="457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914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1371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18288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22860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27432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32004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3657600" algn="l" defTabSz="9144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 fontAlgn="base" hangingPunct="1">
              <a:spcBef>
                <a:spcPct val="0"/>
              </a:spcBef>
              <a:spcAft>
                <a:spcPct val="0"/>
              </a:spcAft>
              <a:defRPr/>
            </a:pPr>
            <a:fld id="{A8CC8D51-5B81-4427-8368-374905FFCA51}" type="slidenum">
              <a:rPr lang="en-US" altLang="th-TH" sz="1000" kern="1200" smtClean="0">
                <a:solidFill>
                  <a:srgbClr val="898989"/>
                </a:solidFill>
                <a:latin typeface="Tahoma" pitchFamily="34" charset="0"/>
                <a:ea typeface="+mn-ea"/>
                <a:cs typeface="Tahoma" pitchFamily="34" charset="0"/>
              </a:rPr>
              <a:pPr algn="r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t>5</a:t>
            </a:fld>
            <a:endParaRPr lang="en-US" altLang="th-TH" sz="1000" kern="1200" dirty="0">
              <a:solidFill>
                <a:srgbClr val="898989"/>
              </a:solidFill>
              <a:latin typeface="Tahoma" pitchFamily="34" charset="0"/>
              <a:ea typeface="+mn-ea"/>
              <a:cs typeface="Tahoma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61948" y="243382"/>
            <a:ext cx="5411788" cy="46269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64797079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กล่องข้อความ 1"/>
          <p:cNvSpPr txBox="1"/>
          <p:nvPr/>
        </p:nvSpPr>
        <p:spPr>
          <a:xfrm>
            <a:off x="107504" y="762000"/>
            <a:ext cx="2952328" cy="193899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ำนักงานปลัดกระทรวงพลังงาน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ารจัดทำยุทธศาสตร์ งบประมาณและการติดตามประเมินผล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งานบุคคล กฎหมาย คลังและพัสดุ ตรวจสอบภายใน คำรับรองปฏิบัติราชการ การตรวจราชการ 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-8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ารบริหารราชการส่วน</a:t>
            </a:r>
            <a:r>
              <a:rPr kumimoji="0" lang="th-TH" sz="1200" b="0" i="0" u="none" strike="noStrike" kern="120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ภูมิภาค</a:t>
            </a:r>
            <a:r>
              <a:rPr kumimoji="0" lang="en-US" sz="1200" b="0" i="0" u="none" strike="noStrike" kern="120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+</a:t>
            </a:r>
            <a:r>
              <a:rPr kumimoji="0" lang="th-TH" sz="1200" b="0" i="0" u="none" strike="noStrike" kern="1200" cap="none" spc="-8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ต่างประเทศ</a:t>
            </a:r>
            <a:endParaRPr kumimoji="0" lang="th-TH" sz="1200" b="0" i="0" u="none" strike="noStrike" kern="1200" cap="none" spc="-8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ารประชาสัมพันธ์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ารมีส่วนร่วมของประชาชนใน</a:t>
            </a:r>
            <a:r>
              <a:rPr kumimoji="0" lang="th-TH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พื้นที่</a:t>
            </a:r>
            <a:endParaRPr kumimoji="0" lang="th-T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marR="0" lvl="0" indent="-17145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5" name="กล่องข้อความ 34"/>
          <p:cNvSpPr txBox="1"/>
          <p:nvPr/>
        </p:nvSpPr>
        <p:spPr>
          <a:xfrm>
            <a:off x="3203848" y="781179"/>
            <a:ext cx="2808312" cy="193899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รมเชื้อเพลิงธรรมชาติ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บริหารจัดการสัญญาสัมปทานปิโตรเลียม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ำหนด</a:t>
            </a: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มาตรฐานการดำเนินงานอาชีวอนามัย ความปลอดภัย และสิ่งแวดล้อม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จัดเก็บค่าภาคหลวงและผลประโยชน์</a:t>
            </a:r>
            <a:b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อื่น</a:t>
            </a:r>
            <a:r>
              <a:rPr kumimoji="0" lang="th-TH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ใด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บริหารจัดการถ่านหิน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th-TH" sz="1200" b="1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th-TH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R="0" lvl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  <a:defRPr/>
            </a:pPr>
            <a:endParaRPr kumimoji="0" lang="th-TH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กล่องข้อความ 35"/>
          <p:cNvSpPr txBox="1"/>
          <p:nvPr/>
        </p:nvSpPr>
        <p:spPr>
          <a:xfrm>
            <a:off x="6156176" y="762000"/>
            <a:ext cx="2880320" cy="193899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รมธุรกิจพลังงาน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19063" algn="l"/>
              </a:tabLst>
              <a:defRPr/>
            </a:pPr>
            <a:r>
              <a:rPr kumimoji="0" lang="th-TH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ำกับ</a:t>
            </a: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ดูแลกิจการพลังงานด้านคุณภาพความปลอดภัย ความมั่นคงและสิ่งแวดล้อม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19063" algn="l"/>
              </a:tabLst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ำกับคุณภาพมาตรฐานน้ำมันเชื้อเพลิง การค้าและการสำรองน้ำมัน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19063" algn="l"/>
              </a:tabLst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ำกับดูแลโรงกลั่น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19063" algn="l"/>
              </a:tabLst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ำกับดูแล ติดตามราคาน้ำมันเชื้อเพลิงและเชื้อเพลิงชีวภาพ</a:t>
            </a:r>
          </a:p>
          <a:p>
            <a:pPr marL="85725" marR="0" lvl="0" indent="-85725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th-TH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" name="กล่องข้อความ 36"/>
          <p:cNvSpPr txBox="1"/>
          <p:nvPr/>
        </p:nvSpPr>
        <p:spPr>
          <a:xfrm>
            <a:off x="122385" y="2904331"/>
            <a:ext cx="2952328" cy="175432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ำนักงานนโยบายและแผนพลังงาน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เสนอแนะการกำหนดนโยบายและ</a:t>
            </a:r>
            <a:r>
              <a:rPr kumimoji="0" lang="th-TH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แผนเสนอแนะ</a:t>
            </a: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นโยบายด้านการอนุรักษ์พลังงานและพลังงานทดแทน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บริหารจัดการข้อมูลและพยากรณ์แนวโน้มข้อมูลพลังงาน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เป็นฝ่ายเลขานุการของ กพช. </a:t>
            </a:r>
            <a:r>
              <a:rPr kumimoji="0" lang="th-TH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บง. </a:t>
            </a:r>
            <a:r>
              <a:rPr kumimoji="0" lang="th-TH" sz="1200" b="0" i="0" u="none" strike="noStrike" kern="120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ท</a:t>
            </a:r>
            <a:r>
              <a:rPr kumimoji="0" lang="th-TH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อ.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sz="1200" kern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8" name="กล่องข้อความ 37"/>
          <p:cNvSpPr txBox="1"/>
          <p:nvPr/>
        </p:nvSpPr>
        <p:spPr>
          <a:xfrm>
            <a:off x="3216548" y="2904331"/>
            <a:ext cx="2808312" cy="175432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รมพัฒนาพลังงานทดแทนและอนุรักษ์พลังงาน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่งเสริม กำกับ การอนุรักษ์พลังงาน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วิจัย ค้นคว้า และสนับสนุนพลังงานทดแทน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th-T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sz="1200" kern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9" name="กล่องข้อความ 38"/>
          <p:cNvSpPr txBox="1"/>
          <p:nvPr/>
        </p:nvSpPr>
        <p:spPr>
          <a:xfrm>
            <a:off x="6141295" y="2904331"/>
            <a:ext cx="2880320" cy="175432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ำนักงานคณะกรรมการกำกับกิจการพลังงาน</a:t>
            </a:r>
          </a:p>
          <a:p>
            <a:pPr marL="174625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ำกับกิจการไฟฟ้าและก๊าซธรรมชาติ </a:t>
            </a:r>
          </a:p>
          <a:p>
            <a:pPr marL="174625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ารอนุญาตเบ็ดเสร็จ </a:t>
            </a:r>
          </a:p>
          <a:p>
            <a:pPr marL="174625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อัตราค่าบริการไฟฟ้า และค่าผ่านท่อ</a:t>
            </a:r>
            <a:r>
              <a:rPr kumimoji="0" lang="th-TH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๊าซการ</a:t>
            </a: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ปรับค่าไฟฟ้าโดยอัตโนมัติ (ค่า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t) </a:t>
            </a:r>
            <a:endParaRPr kumimoji="0" lang="th-T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4625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ำกับการรับซื้อไฟฟ้าตามแผน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DP </a:t>
            </a: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174625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ารคุ้มครองสิทธิ สร้างการมีส่วนร่วมของผู้ใช้พลังงาน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กล่องข้อความ 37"/>
          <p:cNvSpPr txBox="1"/>
          <p:nvPr/>
        </p:nvSpPr>
        <p:spPr>
          <a:xfrm>
            <a:off x="122361" y="4909906"/>
            <a:ext cx="2967207" cy="15696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ารไฟฟ้าฝ่ายผลิตแห่งประเทศไทย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ผลิต จัดหา จัดส่ง และจำหน่ายไฟฟ้า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ประกอบธุรกิจเกี่ยวเนื่อง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ารผลิตและขายลิกไนต์</a:t>
            </a: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th-T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en-GB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GB" sz="1200" kern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marR="0" lvl="0" indent="-2857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en-GB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กล่องข้อความ 34"/>
          <p:cNvSpPr txBox="1"/>
          <p:nvPr/>
        </p:nvSpPr>
        <p:spPr>
          <a:xfrm>
            <a:off x="3203848" y="4909906"/>
            <a:ext cx="2800883" cy="156966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th-TH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บริษัท ปตท. จำกัด (มหาชน)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ดำเนินธุรกิจด้านพลังงานและปิโตรเคมี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๊าซธรรมชาติ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จัดหา จำหน่าย ระบบท่อส่ง โรงแยก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น้ำมัน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r>
              <a:rPr kumimoji="0" lang="th-TH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ขายปลีก จัดหา จัดส่ง </a:t>
            </a:r>
            <a:r>
              <a:rPr kumimoji="0" lang="th-TH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คลัง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lang="en-US" sz="1200" kern="1200" dirty="0">
              <a:solidFill>
                <a:prstClr val="black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-"/>
              <a:tabLst/>
              <a:defRPr/>
            </a:pPr>
            <a:endParaRPr kumimoji="0" lang="th-T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3" name="กล่องข้อความ 35"/>
          <p:cNvSpPr txBox="1"/>
          <p:nvPr/>
        </p:nvSpPr>
        <p:spPr>
          <a:xfrm>
            <a:off x="6119011" y="4909906"/>
            <a:ext cx="2880320" cy="1569660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117475" marR="0" lvl="0" indent="-117475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19063" algn="l"/>
              </a:tabLst>
              <a:defRPr/>
            </a:pPr>
            <a:r>
              <a:rPr kumimoji="0" lang="th-TH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สำนักงานกองทุนน้ำมันเชื้อเพลิง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19063" algn="l"/>
              </a:tabLst>
              <a:defRPr/>
            </a:pPr>
            <a:r>
              <a:rPr kumimoji="0" lang="th-TH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รับผิดชอบงานธุรการของคณะกรรมการและคณะอนุกรรมการ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19063" algn="l"/>
              </a:tabLst>
              <a:defRPr/>
            </a:pPr>
            <a:r>
              <a:rPr kumimoji="0" lang="th-TH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จัดทำแผนรองรับวิกฤตการณ์ด้านน้ำมันเชื้อเพลิงและแผนยุทธศาสตร์กองทุนน้ำมันเชื้อเพลิง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19063" algn="l"/>
              </a:tabLst>
              <a:defRPr/>
            </a:pPr>
            <a:r>
              <a:rPr kumimoji="0" lang="th-TH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กู้ยืมเงิน</a:t>
            </a: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119063" algn="l"/>
              </a:tabLst>
              <a:defRPr/>
            </a:pPr>
            <a:r>
              <a:rPr kumimoji="0" lang="th-TH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ปฏิบัติตามมอบหมาย</a:t>
            </a:r>
            <a:endParaRPr kumimoji="0" lang="th-TH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ตัวแทนหมายเลขสไลด์ 1"/>
          <p:cNvSpPr>
            <a:spLocks noGrp="1"/>
          </p:cNvSpPr>
          <p:nvPr>
            <p:ph type="sldNum" sz="quarter" idx="12"/>
          </p:nvPr>
        </p:nvSpPr>
        <p:spPr>
          <a:xfrm>
            <a:off x="6948264" y="6448251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Title 2"/>
          <p:cNvSpPr txBox="1">
            <a:spLocks/>
          </p:cNvSpPr>
          <p:nvPr/>
        </p:nvSpPr>
        <p:spPr>
          <a:xfrm>
            <a:off x="213818" y="234864"/>
            <a:ext cx="8794116" cy="298034"/>
          </a:xfrm>
          <a:prstGeom prst="rect">
            <a:avLst/>
          </a:prstGeom>
          <a:noFill/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lIns="0" tIns="0" rIns="0" bIns="0">
            <a:noAutofit/>
          </a:bodyPr>
          <a:lstStyle>
            <a:lvl1pPr marL="0" marR="0" indent="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2800" b="1" i="0" u="none" strike="noStrike" cap="none" spc="0" baseline="0">
                <a:ln>
                  <a:noFill/>
                </a:ln>
                <a:solidFill>
                  <a:schemeClr val="bg1"/>
                </a:solidFill>
                <a:uFillTx/>
                <a:latin typeface="Tahoma" pitchFamily="34" charset="0"/>
                <a:ea typeface="Tahoma" pitchFamily="34" charset="0"/>
                <a:cs typeface="Tahoma" pitchFamily="34" charset="0"/>
                <a:sym typeface="Arial"/>
              </a:defRPr>
            </a:lvl1pPr>
            <a:lvl2pPr marL="0" marR="0" indent="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0" marR="0" indent="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0" marR="0" indent="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0" marR="0" indent="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0" marR="0" indent="465430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0" marR="0" indent="930888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0" marR="0" indent="1396332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0" marR="0" indent="1861776" algn="l" defTabSz="907046" rtl="0" latinLnBrk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266700" algn="l"/>
              </a:tabLst>
              <a:defRPr sz="19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hangingPunct="1"/>
            <a:r>
              <a:rPr lang="th-TH" sz="2000" dirty="0">
                <a:solidFill>
                  <a:schemeClr val="tx1"/>
                </a:solidFill>
              </a:rPr>
              <a:t>อำนาจและภารกิจ</a:t>
            </a:r>
            <a:r>
              <a:rPr lang="th-TH" sz="2000" dirty="0" smtClean="0">
                <a:solidFill>
                  <a:schemeClr val="tx1"/>
                </a:solidFill>
              </a:rPr>
              <a:t>ของกรม </a:t>
            </a:r>
            <a:endParaRPr lang="en-US" sz="2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7838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7038662" y="685800"/>
            <a:ext cx="1912944" cy="5686843"/>
            <a:chOff x="7038662" y="846495"/>
            <a:chExt cx="1912944" cy="5686843"/>
          </a:xfrm>
        </p:grpSpPr>
        <p:sp>
          <p:nvSpPr>
            <p:cNvPr id="5" name="Text Box 12"/>
            <p:cNvSpPr txBox="1">
              <a:spLocks noChangeArrowheads="1"/>
            </p:cNvSpPr>
            <p:nvPr/>
          </p:nvSpPr>
          <p:spPr bwMode="auto">
            <a:xfrm>
              <a:off x="7038662" y="1640994"/>
              <a:ext cx="1112664" cy="7078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4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นายนที ทับมณี</a:t>
              </a:r>
              <a:endParaRPr kumimoji="0" lang="en-US" altLang="th-TH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endParaRPr>
            </a:p>
            <a:p>
              <a:pPr algn="r" eaLnBrk="1" hangingPunct="1">
                <a:spcBef>
                  <a:spcPct val="0"/>
                </a:spcBef>
                <a:buNone/>
                <a:defRPr/>
              </a:pPr>
              <a:r>
                <a:rPr lang="th-TH" altLang="th-TH" sz="1000" b="1" dirty="0">
                  <a:solidFill>
                    <a:srgbClr val="000000"/>
                  </a:solidFill>
                </a:rPr>
                <a:t>หัวหน้า</a:t>
              </a:r>
              <a:endParaRPr lang="en-US" altLang="th-TH" sz="1000" b="1" dirty="0">
                <a:solidFill>
                  <a:srgbClr val="000000"/>
                </a:solidFill>
              </a:endParaRPr>
            </a:p>
            <a:p>
              <a:pPr algn="r" eaLnBrk="1" hangingPunct="1">
                <a:spcBef>
                  <a:spcPct val="0"/>
                </a:spcBef>
                <a:buNone/>
                <a:defRPr/>
              </a:pPr>
              <a:r>
                <a:rPr lang="th-TH" altLang="th-TH" sz="1000" b="1" dirty="0">
                  <a:solidFill>
                    <a:srgbClr val="000000"/>
                  </a:solidFill>
                </a:rPr>
                <a:t>ผู้ตรวจราชการ</a:t>
              </a:r>
            </a:p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lang="en-US" altLang="th-TH" sz="1000" b="1" dirty="0">
                <a:solidFill>
                  <a:srgbClr val="000000"/>
                </a:solidFill>
                <a:ea typeface="+mn-ea"/>
              </a:endParaRPr>
            </a:p>
          </p:txBody>
        </p:sp>
        <p:pic>
          <p:nvPicPr>
            <p:cNvPr id="6" name="Picture 2" descr="http://pre.energy.go.th/media/37942/19.jp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62518" y="2416067"/>
              <a:ext cx="664533" cy="773969"/>
            </a:xfrm>
            <a:prstGeom prst="rect">
              <a:avLst/>
            </a:prstGeom>
            <a:ln>
              <a:noFill/>
            </a:ln>
            <a:effectLst>
              <a:outerShdw algn="tl" rotWithShape="0">
                <a:srgbClr val="333333"/>
              </a:outerShdw>
            </a:effectLst>
          </p:spPr>
        </p:pic>
        <p:sp>
          <p:nvSpPr>
            <p:cNvPr id="7" name="Rectangle 124"/>
            <p:cNvSpPr>
              <a:spLocks noChangeArrowheads="1"/>
            </p:cNvSpPr>
            <p:nvPr/>
          </p:nvSpPr>
          <p:spPr bwMode="auto">
            <a:xfrm>
              <a:off x="7059618" y="846495"/>
              <a:ext cx="1891988" cy="5686843"/>
            </a:xfrm>
            <a:prstGeom prst="rect">
              <a:avLst/>
            </a:prstGeom>
            <a:noFill/>
            <a:ln w="3175">
              <a:solidFill>
                <a:srgbClr val="FF0000"/>
              </a:solidFill>
              <a:prstDash val="solid"/>
              <a:miter lim="800000"/>
              <a:headEnd/>
              <a:tailEnd/>
            </a:ln>
          </p:spPr>
          <p:txBody>
            <a:bodyPr wrap="none" anchor="ctr"/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4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altLang="th-TH" sz="1800" b="0" i="0" u="none" strike="noStrike" kern="1200" cap="none" spc="0" normalizeH="0" baseline="0" noProof="0">
                <a:ln>
                  <a:noFill/>
                </a:ln>
                <a:solidFill>
                  <a:srgbClr val="800000"/>
                </a:solidFill>
                <a:effectLst/>
                <a:uLnTx/>
                <a:uFillTx/>
                <a:latin typeface="Calibri" pitchFamily="34" charset="0"/>
                <a:ea typeface="+mn-ea"/>
                <a:cs typeface="Cordia New" pitchFamily="34" charset="-34"/>
              </a:endParaRPr>
            </a:p>
          </p:txBody>
        </p:sp>
        <p:sp>
          <p:nvSpPr>
            <p:cNvPr id="8" name="Rectangle 66"/>
            <p:cNvSpPr>
              <a:spLocks noChangeArrowheads="1"/>
            </p:cNvSpPr>
            <p:nvPr/>
          </p:nvSpPr>
          <p:spPr bwMode="auto">
            <a:xfrm>
              <a:off x="7492920" y="1132822"/>
              <a:ext cx="1119188" cy="268173"/>
            </a:xfrm>
            <a:prstGeom prst="rect">
              <a:avLst/>
            </a:prstGeom>
            <a:ln>
              <a:noFill/>
              <a:headEnd/>
              <a:tailEnd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wrap="none">
              <a:spAutoFit/>
            </a:bodyPr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ผู้ตรวจราชการ</a:t>
              </a:r>
              <a:endPara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Cordia New" pitchFamily="34" charset="-34"/>
              </a:endParaRPr>
            </a:p>
          </p:txBody>
        </p:sp>
        <p:sp>
          <p:nvSpPr>
            <p:cNvPr id="9" name="Text Box 12"/>
            <p:cNvSpPr txBox="1">
              <a:spLocks noChangeArrowheads="1"/>
            </p:cNvSpPr>
            <p:nvPr/>
          </p:nvSpPr>
          <p:spPr bwMode="auto">
            <a:xfrm>
              <a:off x="7438155" y="4571261"/>
              <a:ext cx="702575" cy="2520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4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9pPr>
            </a:lstStyle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altLang="th-TH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endParaRPr>
            </a:p>
          </p:txBody>
        </p:sp>
        <p:pic>
          <p:nvPicPr>
            <p:cNvPr id="10" name="Picture 71" descr="D:\- กยศ -\ป้องกันปท\7.jpg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2620"/>
            <a:stretch/>
          </p:blipFill>
          <p:spPr bwMode="auto">
            <a:xfrm>
              <a:off x="8162518" y="4890559"/>
              <a:ext cx="719921" cy="75378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77" descr="D:\- กยศ -\ป้องกันปท\15.jpg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162518" y="1448025"/>
              <a:ext cx="685800" cy="7227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Rectangle 2"/>
            <p:cNvSpPr/>
            <p:nvPr/>
          </p:nvSpPr>
          <p:spPr>
            <a:xfrm>
              <a:off x="7238583" y="3516046"/>
              <a:ext cx="995784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นายวิศักดิ์วัฒนศัพท์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13" name="Picture 8" descr="http://energy.go.th/2015/wp-content/uploads/2016/02/%E0%B8%99%E0%B8%B2%E0%B8%A2%E0%B8%A7%E0%B8%B4%E0%B8%A8%E0%B8%B1%E0%B8%81%E0%B8%94%E0%B8%B4%E0%B9%8C.jpg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8162518" y="3223557"/>
              <a:ext cx="712362" cy="6941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" name="Picture 4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8162518" y="3988164"/>
              <a:ext cx="711315" cy="728855"/>
            </a:xfrm>
            <a:prstGeom prst="rect">
              <a:avLst/>
            </a:prstGeom>
          </p:spPr>
        </p:pic>
        <p:sp>
          <p:nvSpPr>
            <p:cNvPr id="15" name="Rectangle 14"/>
            <p:cNvSpPr/>
            <p:nvPr/>
          </p:nvSpPr>
          <p:spPr>
            <a:xfrm>
              <a:off x="7158908" y="4380142"/>
              <a:ext cx="1075459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นายประเสริฐ  สินสุขประเสริฐ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pic>
          <p:nvPicPr>
            <p:cNvPr id="16" name="Picture 7"/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980"/>
            <a:stretch/>
          </p:blipFill>
          <p:spPr>
            <a:xfrm>
              <a:off x="8162518" y="5716356"/>
              <a:ext cx="662687" cy="742382"/>
            </a:xfrm>
            <a:prstGeom prst="rect">
              <a:avLst/>
            </a:prstGeom>
          </p:spPr>
        </p:pic>
        <p:sp>
          <p:nvSpPr>
            <p:cNvPr id="17" name="Rectangle 8"/>
            <p:cNvSpPr/>
            <p:nvPr/>
          </p:nvSpPr>
          <p:spPr>
            <a:xfrm>
              <a:off x="7194165" y="6108334"/>
              <a:ext cx="1040202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นายหร่อหยา</a:t>
              </a:r>
              <a:r>
                <a: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r>
                <a:rPr kumimoji="0" lang="en-US" sz="10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จันทรัตนา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7243632" y="2827904"/>
              <a:ext cx="99073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นายประพนธ์ วงษ์ท่าเรือ</a:t>
              </a:r>
            </a:p>
          </p:txBody>
        </p:sp>
        <p:sp>
          <p:nvSpPr>
            <p:cNvPr id="19" name="Rectangle 8"/>
            <p:cNvSpPr/>
            <p:nvPr/>
          </p:nvSpPr>
          <p:spPr>
            <a:xfrm>
              <a:off x="7253174" y="5292145"/>
              <a:ext cx="98119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นายทวารัฐ  </a:t>
              </a:r>
            </a:p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สูตะบุตร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6CB4B4D-7CA3-9044-876B-883B54F8677D}" type="slidenum">
              <a:rPr kumimoji="0" lang="en-US" sz="10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r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0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th-TH" sz="20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โครงสร้างผู้บริหาร</a:t>
            </a:r>
            <a:endParaRPr lang="en-US" sz="2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-52078" y="609600"/>
            <a:ext cx="7432477" cy="5766151"/>
            <a:chOff x="-52078" y="766493"/>
            <a:chExt cx="7432477" cy="5766151"/>
          </a:xfrm>
        </p:grpSpPr>
        <p:cxnSp>
          <p:nvCxnSpPr>
            <p:cNvPr id="21" name="Straight Connector 50"/>
            <p:cNvCxnSpPr/>
            <p:nvPr/>
          </p:nvCxnSpPr>
          <p:spPr>
            <a:xfrm>
              <a:off x="4951970" y="1270549"/>
              <a:ext cx="0" cy="38735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57"/>
            <p:cNvCxnSpPr/>
            <p:nvPr/>
          </p:nvCxnSpPr>
          <p:spPr>
            <a:xfrm>
              <a:off x="3511860" y="2423297"/>
              <a:ext cx="0" cy="287972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Rectangle 46"/>
            <p:cNvSpPr/>
            <p:nvPr/>
          </p:nvSpPr>
          <p:spPr>
            <a:xfrm>
              <a:off x="1783618" y="766493"/>
              <a:ext cx="3456384" cy="503238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รัฐมนตรีว่าการกระทรวงพลังงาน</a:t>
              </a:r>
            </a:p>
          </p:txBody>
        </p:sp>
        <p:cxnSp>
          <p:nvCxnSpPr>
            <p:cNvPr id="24" name="Straight Connector 48"/>
            <p:cNvCxnSpPr/>
            <p:nvPr/>
          </p:nvCxnSpPr>
          <p:spPr>
            <a:xfrm>
              <a:off x="3511860" y="1270772"/>
              <a:ext cx="3175" cy="503238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50"/>
            <p:cNvCxnSpPr/>
            <p:nvPr/>
          </p:nvCxnSpPr>
          <p:spPr>
            <a:xfrm>
              <a:off x="2359335" y="1270772"/>
              <a:ext cx="0" cy="38735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Rectangle 51"/>
            <p:cNvSpPr/>
            <p:nvPr/>
          </p:nvSpPr>
          <p:spPr>
            <a:xfrm>
              <a:off x="775506" y="1414565"/>
              <a:ext cx="1791144" cy="360362"/>
            </a:xfrm>
            <a:prstGeom prst="rect">
              <a:avLst/>
            </a:prstGeom>
            <a:ln w="3175"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คณะกรรมการ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กำกับกิจการพลังงาน</a:t>
              </a:r>
            </a:p>
          </p:txBody>
        </p:sp>
        <p:cxnSp>
          <p:nvCxnSpPr>
            <p:cNvPr id="27" name="Straight Connector 53"/>
            <p:cNvCxnSpPr/>
            <p:nvPr/>
          </p:nvCxnSpPr>
          <p:spPr bwMode="auto">
            <a:xfrm>
              <a:off x="759125" y="4152085"/>
              <a:ext cx="5341940" cy="0"/>
            </a:xfrm>
            <a:prstGeom prst="line">
              <a:avLst/>
            </a:prstGeom>
            <a:solidFill>
              <a:schemeClr val="bg1">
                <a:lumMod val="85000"/>
              </a:schemeClr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Text Box 13"/>
            <p:cNvSpPr txBox="1">
              <a:spLocks noChangeArrowheads="1"/>
            </p:cNvSpPr>
            <p:nvPr/>
          </p:nvSpPr>
          <p:spPr bwMode="auto">
            <a:xfrm>
              <a:off x="3285589" y="4676989"/>
              <a:ext cx="2536875" cy="553998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4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นายยงยุทธ จันทโรท</a:t>
              </a:r>
              <a:r>
                <a:rPr kumimoji="0" lang="th-TH" altLang="th-TH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ัย</a:t>
              </a:r>
              <a:endParaRPr kumimoji="0" lang="th-TH" altLang="th-TH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endParaRP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อธิบดีกรมพัฒนาพลังงานทดแทน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และอนุรักษ์พลังงาน</a:t>
              </a:r>
            </a:p>
          </p:txBody>
        </p:sp>
        <p:sp>
          <p:nvSpPr>
            <p:cNvPr id="29" name="Text Box 13"/>
            <p:cNvSpPr txBox="1">
              <a:spLocks noChangeArrowheads="1"/>
            </p:cNvSpPr>
            <p:nvPr/>
          </p:nvSpPr>
          <p:spPr bwMode="auto">
            <a:xfrm>
              <a:off x="1699094" y="4830878"/>
              <a:ext cx="1668700" cy="400109"/>
            </a:xfrm>
            <a:prstGeom prst="rect">
              <a:avLst/>
            </a:prstGeom>
            <a:noFill/>
            <a:ln>
              <a:noFill/>
            </a:ln>
          </p:spPr>
          <p:txBody>
            <a:bodyPr wrap="none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4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นางสาวน</a:t>
              </a:r>
              <a:r>
                <a:rPr kumimoji="0" lang="th-TH" altLang="th-TH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ันธิ</a:t>
              </a: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กา ทังสุพาน</a:t>
              </a:r>
              <a:r>
                <a:rPr kumimoji="0" lang="th-TH" altLang="th-TH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ิช</a:t>
              </a:r>
              <a:endParaRPr kumimoji="0" lang="th-TH" altLang="th-TH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endParaRP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อธิบดีกรมธุรกิจพลังงาน</a:t>
              </a:r>
            </a:p>
          </p:txBody>
        </p:sp>
        <p:sp>
          <p:nvSpPr>
            <p:cNvPr id="30" name="Rectangle 68"/>
            <p:cNvSpPr>
              <a:spLocks noChangeArrowheads="1"/>
            </p:cNvSpPr>
            <p:nvPr/>
          </p:nvSpPr>
          <p:spPr bwMode="auto">
            <a:xfrm>
              <a:off x="-52078" y="4830840"/>
              <a:ext cx="1840417" cy="40014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4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9pPr>
            </a:lstStyle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anose="020B0604030504040204" pitchFamily="34" charset="0"/>
                  <a:cs typeface="Tahoma" pitchFamily="34" charset="0"/>
                </a:rPr>
                <a:t>นางเปรมฤทัย  วินัยแพทย์</a:t>
              </a:r>
              <a:endPara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Tahoma" panose="020B0604030504040204" pitchFamily="34" charset="0"/>
                <a:cs typeface="Tahoma" pitchFamily="34" charset="0"/>
              </a:endParaRP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อธิบดีกรมเชื้อเพลิงธรรมชาติ</a:t>
              </a:r>
            </a:p>
          </p:txBody>
        </p:sp>
        <p:sp>
          <p:nvSpPr>
            <p:cNvPr id="31" name="Line 133"/>
            <p:cNvSpPr>
              <a:spLocks noChangeShapeType="1"/>
            </p:cNvSpPr>
            <p:nvPr/>
          </p:nvSpPr>
          <p:spPr bwMode="auto">
            <a:xfrm>
              <a:off x="1428376" y="2834564"/>
              <a:ext cx="4360649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ngsana New" pitchFamily="18" charset="-34"/>
              </a:endParaRPr>
            </a:p>
          </p:txBody>
        </p:sp>
        <p:sp>
          <p:nvSpPr>
            <p:cNvPr id="32" name="Line 134"/>
            <p:cNvSpPr>
              <a:spLocks noChangeShapeType="1"/>
            </p:cNvSpPr>
            <p:nvPr/>
          </p:nvSpPr>
          <p:spPr bwMode="auto">
            <a:xfrm>
              <a:off x="5774737" y="2734629"/>
              <a:ext cx="0" cy="289232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ngsana New" pitchFamily="18" charset="-34"/>
              </a:endParaRPr>
            </a:p>
          </p:txBody>
        </p:sp>
        <p:sp>
          <p:nvSpPr>
            <p:cNvPr id="33" name="Line 135"/>
            <p:cNvSpPr>
              <a:spLocks noChangeShapeType="1"/>
            </p:cNvSpPr>
            <p:nvPr/>
          </p:nvSpPr>
          <p:spPr bwMode="auto">
            <a:xfrm>
              <a:off x="1428376" y="2723505"/>
              <a:ext cx="0" cy="228843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ngsana New" pitchFamily="18" charset="-34"/>
              </a:endParaRPr>
            </a:p>
          </p:txBody>
        </p:sp>
        <p:sp>
          <p:nvSpPr>
            <p:cNvPr id="34" name="Text Box 13"/>
            <p:cNvSpPr txBox="1">
              <a:spLocks noChangeArrowheads="1"/>
            </p:cNvSpPr>
            <p:nvPr/>
          </p:nvSpPr>
          <p:spPr bwMode="auto">
            <a:xfrm>
              <a:off x="4448896" y="3165150"/>
              <a:ext cx="2160482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4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th-TH" altLang="th-TH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นายสมบูรณ์  หน่อแก้ว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altLang="th-TH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รองปลัดกระทรวงพลังงาน</a:t>
              </a:r>
            </a:p>
          </p:txBody>
        </p:sp>
        <p:sp>
          <p:nvSpPr>
            <p:cNvPr id="35" name="Text Box 13"/>
            <p:cNvSpPr txBox="1">
              <a:spLocks noChangeArrowheads="1"/>
            </p:cNvSpPr>
            <p:nvPr/>
          </p:nvSpPr>
          <p:spPr bwMode="auto">
            <a:xfrm>
              <a:off x="344663" y="3165150"/>
              <a:ext cx="2232138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4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th-TH" altLang="th-TH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นายสราว</a:t>
              </a:r>
              <a:r>
                <a:rPr kumimoji="0" lang="th-TH" altLang="th-TH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ุธ</a:t>
              </a:r>
              <a:r>
                <a:rPr kumimoji="0" lang="th-TH" altLang="th-TH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  แก้วตาทิพย์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altLang="th-TH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รองปลัดกระทรวงพลังงาน</a:t>
              </a:r>
            </a:p>
          </p:txBody>
        </p:sp>
        <p:sp>
          <p:nvSpPr>
            <p:cNvPr id="36" name="Text Box 14"/>
            <p:cNvSpPr txBox="1">
              <a:spLocks noChangeArrowheads="1"/>
            </p:cNvSpPr>
            <p:nvPr/>
          </p:nvSpPr>
          <p:spPr bwMode="auto">
            <a:xfrm>
              <a:off x="2647714" y="2358767"/>
              <a:ext cx="1717676" cy="461963"/>
            </a:xfrm>
            <a:prstGeom prst="rect">
              <a:avLst/>
            </a:prstGeom>
            <a:solidFill>
              <a:schemeClr val="bg1">
                <a:alpha val="63000"/>
              </a:schemeClr>
            </a:solidFill>
            <a:ln>
              <a:solidFill>
                <a:schemeClr val="bg1"/>
              </a:solidFill>
            </a:ln>
          </p:spPr>
          <p:txBody>
            <a:bodyPr wrap="non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cs typeface="Angsana New" pitchFamily="18" charset="-34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นายกุล</a:t>
              </a:r>
              <a:r>
                <a:rPr kumimoji="0" lang="th-TH" sz="12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ิศ</a:t>
              </a:r>
              <a:r>
                <a:rPr kumimoji="0" lang="th-TH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  สมบัติศิริ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ปลัดกระทรวงพลังงาน</a:t>
              </a:r>
              <a:endParaRPr kumimoji="0" lang="th-TH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endParaRPr>
            </a:p>
          </p:txBody>
        </p:sp>
        <p:sp>
          <p:nvSpPr>
            <p:cNvPr id="37" name="Line 168"/>
            <p:cNvSpPr>
              <a:spLocks noChangeShapeType="1"/>
            </p:cNvSpPr>
            <p:nvPr/>
          </p:nvSpPr>
          <p:spPr bwMode="auto">
            <a:xfrm flipV="1">
              <a:off x="2294125" y="5229200"/>
              <a:ext cx="2843789" cy="36339"/>
            </a:xfrm>
            <a:prstGeom prst="lin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ngsana New" pitchFamily="18" charset="-34"/>
              </a:endParaRPr>
            </a:p>
          </p:txBody>
        </p:sp>
        <p:sp>
          <p:nvSpPr>
            <p:cNvPr id="38" name="Line 172"/>
            <p:cNvSpPr>
              <a:spLocks noChangeShapeType="1"/>
            </p:cNvSpPr>
            <p:nvPr/>
          </p:nvSpPr>
          <p:spPr bwMode="auto">
            <a:xfrm>
              <a:off x="5121850" y="5220903"/>
              <a:ext cx="0" cy="152313"/>
            </a:xfrm>
            <a:prstGeom prst="lin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ngsana New" pitchFamily="18" charset="-34"/>
              </a:endParaRPr>
            </a:p>
          </p:txBody>
        </p:sp>
        <p:sp>
          <p:nvSpPr>
            <p:cNvPr id="39" name="Line 215"/>
            <p:cNvSpPr>
              <a:spLocks noChangeShapeType="1"/>
            </p:cNvSpPr>
            <p:nvPr/>
          </p:nvSpPr>
          <p:spPr bwMode="auto">
            <a:xfrm>
              <a:off x="2293871" y="5203481"/>
              <a:ext cx="0" cy="152313"/>
            </a:xfrm>
            <a:prstGeom prst="line">
              <a:avLst/>
            </a:prstGeom>
            <a:solidFill>
              <a:schemeClr val="bg2"/>
            </a:solidFill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ngsana New" pitchFamily="18" charset="-34"/>
              </a:endParaRPr>
            </a:p>
          </p:txBody>
        </p:sp>
        <p:sp>
          <p:nvSpPr>
            <p:cNvPr id="40" name="Text Box 117"/>
            <p:cNvSpPr txBox="1">
              <a:spLocks noChangeArrowheads="1"/>
            </p:cNvSpPr>
            <p:nvPr/>
          </p:nvSpPr>
          <p:spPr bwMode="auto">
            <a:xfrm>
              <a:off x="2909325" y="5804431"/>
              <a:ext cx="1562365" cy="707886"/>
            </a:xfrm>
            <a:prstGeom prst="rect">
              <a:avLst/>
            </a:prstGeom>
            <a:noFill/>
            <a:ln>
              <a:noFill/>
            </a:ln>
            <a:effectLst>
              <a:prstShdw prst="shdw13" dist="53882" dir="13500000">
                <a:schemeClr val="bg2">
                  <a:alpha val="50000"/>
                </a:schemeClr>
              </a:prstShdw>
            </a:effec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4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9pPr>
            </a:lstStyle>
            <a:p>
              <a:pPr marL="0" marR="0" lvl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นายวิบูลย์ ฤกษ์ศิระ</a:t>
              </a:r>
              <a:r>
                <a:rPr kumimoji="0" lang="th-TH" altLang="th-TH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ทัย</a:t>
              </a:r>
              <a:endParaRPr kumimoji="0" lang="th-TH" altLang="th-TH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endParaRPr>
            </a:p>
            <a:p>
              <a:pPr marL="0" marR="0" lvl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ผู้ว่าการ</a:t>
              </a:r>
              <a:endParaRPr kumimoji="0" lang="en-US" altLang="th-TH" sz="1000" b="1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endParaRPr>
            </a:p>
            <a:p>
              <a:pPr marL="0" marR="0" lvl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การไฟฟ้าฝ่ายผลิต</a:t>
              </a:r>
            </a:p>
            <a:p>
              <a:pPr marL="0" marR="0" lvl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แห่งประเทศไทย</a:t>
              </a:r>
            </a:p>
          </p:txBody>
        </p:sp>
        <p:sp>
          <p:nvSpPr>
            <p:cNvPr id="41" name="Text Box 120"/>
            <p:cNvSpPr txBox="1">
              <a:spLocks noChangeArrowheads="1"/>
            </p:cNvSpPr>
            <p:nvPr/>
          </p:nvSpPr>
          <p:spPr bwMode="auto">
            <a:xfrm>
              <a:off x="5436096" y="5825164"/>
              <a:ext cx="1944303" cy="707480"/>
            </a:xfrm>
            <a:prstGeom prst="rect">
              <a:avLst/>
            </a:prstGeom>
            <a:noFill/>
            <a:ln>
              <a:noFill/>
            </a:ln>
            <a:effectLst>
              <a:prstShdw prst="shdw13" dist="53882" dir="13500000">
                <a:schemeClr val="bg2">
                  <a:alpha val="50000"/>
                </a:schemeClr>
              </a:prstShdw>
            </a:effectLst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4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9pPr>
            </a:lstStyle>
            <a:p>
              <a:pPr marL="0" marR="0" lvl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นายชาญศิลป์ ตรีนุชกร</a:t>
              </a:r>
            </a:p>
            <a:p>
              <a:pPr marL="0" marR="0" lvl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ประธานเจ้าหน้าที่บริหาร</a:t>
              </a:r>
            </a:p>
            <a:p>
              <a:pPr marL="0" marR="0" lvl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และกรรมการผู้จัดการใหญ่ </a:t>
              </a:r>
            </a:p>
            <a:p>
              <a:pPr marL="0" marR="0" lvl="0" indent="0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75000"/>
                      <a:lumOff val="25000"/>
                    </a:schemeClr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บ.ปตท.จำกัด (มหาชน)</a:t>
              </a:r>
            </a:p>
          </p:txBody>
        </p:sp>
        <p:pic>
          <p:nvPicPr>
            <p:cNvPr id="42" name="Picture 5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86176" y="3689917"/>
              <a:ext cx="878455" cy="987072"/>
            </a:xfrm>
            <a:prstGeom prst="rect">
              <a:avLst/>
            </a:prstGeom>
          </p:spPr>
        </p:pic>
        <p:pic>
          <p:nvPicPr>
            <p:cNvPr id="43" name="Picture 42"/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007754" y="1434177"/>
              <a:ext cx="995831" cy="896013"/>
            </a:xfrm>
            <a:prstGeom prst="rect">
              <a:avLst/>
            </a:prstGeom>
          </p:spPr>
        </p:pic>
        <p:pic>
          <p:nvPicPr>
            <p:cNvPr id="44" name="Picture 74" descr="D:\- กยศ -\ป้องกันปท\13.jpg"/>
            <p:cNvPicPr>
              <a:picLocks noChangeAspect="1" noChangeArrowheads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143657" y="3689917"/>
              <a:ext cx="794041" cy="10636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5" name="Picture 75" descr="D:\- กยศ -\ป้องกันปท\34.jpg"/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120256" y="3689917"/>
              <a:ext cx="820772" cy="10101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6" name="Text Box 13"/>
            <p:cNvSpPr txBox="1">
              <a:spLocks noChangeArrowheads="1"/>
            </p:cNvSpPr>
            <p:nvPr/>
          </p:nvSpPr>
          <p:spPr bwMode="auto">
            <a:xfrm>
              <a:off x="5312010" y="4676989"/>
              <a:ext cx="1882115" cy="553998"/>
            </a:xfrm>
            <a:prstGeom prst="rect">
              <a:avLst/>
            </a:prstGeom>
            <a:noFill/>
            <a:ln>
              <a:noFill/>
            </a:ln>
          </p:spPr>
          <p:txBody>
            <a:bodyPr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4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นายวัฒนพง</a:t>
              </a:r>
              <a:r>
                <a:rPr kumimoji="0" lang="th-TH" altLang="th-TH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ษ์</a:t>
              </a: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 คุ</a:t>
              </a:r>
              <a:r>
                <a:rPr kumimoji="0" lang="th-TH" altLang="th-TH" sz="1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โร</a:t>
              </a: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วาท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ผู้อำนวยการสำนักงานนโยบายและแผนพลังงาน</a:t>
              </a:r>
            </a:p>
          </p:txBody>
        </p:sp>
        <p:pic>
          <p:nvPicPr>
            <p:cNvPr id="47" name="Picture 46"/>
            <p:cNvPicPr>
              <a:picLocks noChangeAspect="1"/>
            </p:cNvPicPr>
            <p:nvPr/>
          </p:nvPicPr>
          <p:blipFill rotWithShape="1">
            <a:blip r:embed="rId13" cstate="print">
              <a:extLst>
                <a:ext uri="{BEBA8EAE-BF5A-486C-A8C5-ECC9F3942E4B}">
                  <a14:imgProps xmlns:a14="http://schemas.microsoft.com/office/drawing/2010/main">
                    <a14:imgLayer r:embed="rId14">
                      <a14:imgEffect>
                        <a14:brightnessContrast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912367" y="2134645"/>
              <a:ext cx="871252" cy="1000921"/>
            </a:xfrm>
            <a:prstGeom prst="rect">
              <a:avLst/>
            </a:prstGeom>
          </p:spPr>
        </p:pic>
        <p:pic>
          <p:nvPicPr>
            <p:cNvPr id="48" name="Picture 47"/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395494" y="2134645"/>
              <a:ext cx="879876" cy="1018132"/>
            </a:xfrm>
            <a:prstGeom prst="rect">
              <a:avLst/>
            </a:prstGeom>
          </p:spPr>
        </p:pic>
        <p:pic>
          <p:nvPicPr>
            <p:cNvPr id="49" name="Picture 48"/>
            <p:cNvPicPr>
              <a:picLocks noChangeAspect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660" t="6279" r="6954" b="12613"/>
            <a:stretch/>
          </p:blipFill>
          <p:spPr>
            <a:xfrm>
              <a:off x="5960081" y="3689917"/>
              <a:ext cx="820377" cy="1015244"/>
            </a:xfrm>
            <a:prstGeom prst="rect">
              <a:avLst/>
            </a:prstGeom>
          </p:spPr>
        </p:pic>
        <p:sp>
          <p:nvSpPr>
            <p:cNvPr id="50" name="Text Box 113"/>
            <p:cNvSpPr txBox="1">
              <a:spLocks noChangeArrowheads="1"/>
            </p:cNvSpPr>
            <p:nvPr/>
          </p:nvSpPr>
          <p:spPr bwMode="auto">
            <a:xfrm>
              <a:off x="4725628" y="1414565"/>
              <a:ext cx="1828204" cy="400110"/>
            </a:xfrm>
            <a:prstGeom prst="rect">
              <a:avLst/>
            </a:prstGeom>
            <a:ln w="3175"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4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คณะกรรมการบริหาร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กองทุนน้ำมันเชื้อเพลิง*</a:t>
              </a:r>
            </a:p>
          </p:txBody>
        </p:sp>
        <p:pic>
          <p:nvPicPr>
            <p:cNvPr id="51" name="Picture 2" descr="Image result for à¸§à¸´à¸à¸¹à¸¥à¸¢à¹ à¸¤à¸à¸©à¹à¸¨à¸´à¸£à¸°à¸à¸±à¸¢"/>
            <p:cNvPicPr>
              <a:picLocks noChangeAspect="1" noChangeArrowheads="1"/>
            </p:cNvPicPr>
            <p:nvPr/>
          </p:nvPicPr>
          <p:blipFill rotWithShape="1">
            <a:blip r:embed="rId17" cstate="print">
              <a:extLst>
                <a:ext uri="{BEBA8EAE-BF5A-486C-A8C5-ECC9F3942E4B}">
                  <a14:imgProps xmlns:a14="http://schemas.microsoft.com/office/drawing/2010/main">
                    <a14:imgLayer r:embed="rId18">
                      <a14:imgEffect>
                        <a14:sharpenSoften amount="25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710" t="1593" r="28001" b="35366"/>
            <a:stretch/>
          </p:blipFill>
          <p:spPr bwMode="auto">
            <a:xfrm>
              <a:off x="1944918" y="5535670"/>
              <a:ext cx="973285" cy="90112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2" name="Picture 4" descr="Image result for à¸à¸²à¸¢à¸à¸²à¸à¸¨à¸´à¸¥à¸à¹ à¸à¸£à¸µà¸à¸¸à¸à¸à¸£"/>
            <p:cNvPicPr>
              <a:picLocks noChangeAspect="1" noChangeArrowheads="1"/>
            </p:cNvPicPr>
            <p:nvPr/>
          </p:nvPicPr>
          <p:blipFill rotWithShape="1"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4590666" y="5569219"/>
              <a:ext cx="901995" cy="88581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53" name="TextBox 52"/>
          <p:cNvSpPr txBox="1"/>
          <p:nvPr/>
        </p:nvSpPr>
        <p:spPr>
          <a:xfrm>
            <a:off x="165713" y="6506494"/>
            <a:ext cx="34918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</a:t>
            </a:r>
            <a:r>
              <a:rPr kumimoji="0" lang="th-TH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ตาม </a:t>
            </a:r>
            <a:r>
              <a:rPr lang="th-TH" sz="1100" kern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พระราชบัญญัติกองทุนน้ำมันเชื้อเพลิง พ.ศ. 2562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569037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Title 369"/>
          <p:cNvSpPr>
            <a:spLocks noGrp="1"/>
          </p:cNvSpPr>
          <p:nvPr>
            <p:ph type="title"/>
          </p:nvPr>
        </p:nvSpPr>
        <p:spPr>
          <a:xfrm>
            <a:off x="243848" y="37460"/>
            <a:ext cx="8900151" cy="511220"/>
          </a:xfrm>
          <a:noFill/>
          <a:ln>
            <a:noFill/>
          </a:ln>
        </p:spPr>
        <p:txBody>
          <a:bodyPr anchor="ctr"/>
          <a:lstStyle/>
          <a:p>
            <a:pPr marL="342900" lvl="0" indent="-342900">
              <a:spcBef>
                <a:spcPct val="50000"/>
              </a:spcBef>
              <a:tabLst>
                <a:tab pos="990600" algn="l"/>
                <a:tab pos="1890713" algn="l"/>
              </a:tabLst>
              <a:defRPr/>
            </a:pPr>
            <a:r>
              <a:rPr lang="th-TH" sz="2000" b="1" kern="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กลไกการบริหารนโยบายพลังงานของประเทศ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847038" y="6435746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CC8D51-5B81-4427-8368-374905FFCA51}" type="slidenum">
              <a:rPr kumimoji="0" lang="en-US" altLang="th-TH" sz="10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altLang="th-TH" sz="10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  <p:grpSp>
        <p:nvGrpSpPr>
          <p:cNvPr id="44" name="Group 43"/>
          <p:cNvGrpSpPr/>
          <p:nvPr/>
        </p:nvGrpSpPr>
        <p:grpSpPr>
          <a:xfrm>
            <a:off x="92226" y="530361"/>
            <a:ext cx="8964612" cy="5946639"/>
            <a:chOff x="92226" y="530361"/>
            <a:chExt cx="8964612" cy="5946639"/>
          </a:xfrm>
        </p:grpSpPr>
        <p:sp>
          <p:nvSpPr>
            <p:cNvPr id="5" name="AutoShape 3"/>
            <p:cNvSpPr>
              <a:spLocks noChangeArrowheads="1"/>
            </p:cNvSpPr>
            <p:nvPr/>
          </p:nvSpPr>
          <p:spPr bwMode="auto">
            <a:xfrm>
              <a:off x="92226" y="530361"/>
              <a:ext cx="8964612" cy="5946639"/>
            </a:xfrm>
            <a:prstGeom prst="roundRect">
              <a:avLst>
                <a:gd name="adj" fmla="val 2167"/>
              </a:avLst>
            </a:prstGeom>
            <a:solidFill>
              <a:schemeClr val="bg1"/>
            </a:solidFill>
            <a:ln w="28575">
              <a:solidFill>
                <a:srgbClr val="FF3300"/>
              </a:solidFill>
              <a:round/>
              <a:headEnd/>
              <a:tailEnd/>
            </a:ln>
            <a:effectLst>
              <a:innerShdw blurRad="114300">
                <a:prstClr val="black"/>
              </a:innerShdw>
            </a:effectLst>
          </p:spPr>
          <p:txBody>
            <a:bodyPr/>
            <a:lstStyle/>
            <a:p>
              <a:pPr marL="0" marR="0" lvl="0" indent="0" algn="l" defTabSz="366355" rtl="0" eaLnBrk="0" fontAlgn="base" latinLnBrk="0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317997" algn="l"/>
                  <a:tab pos="574445" algn="l"/>
                </a:tabLst>
                <a:defRPr/>
              </a:pPr>
              <a:endParaRPr kumimoji="0" lang="th-TH" sz="1846" b="1" i="0" u="sng" strike="noStrike" kern="1200" cap="none" spc="0" normalizeH="0" baseline="0" noProof="0">
                <a:ln>
                  <a:noFill/>
                </a:ln>
                <a:solidFill>
                  <a:srgbClr val="77AE2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  <a:p>
              <a:pPr marL="0" marR="0" lvl="0" indent="0" algn="l" defTabSz="366355" rtl="0" eaLnBrk="0" fontAlgn="base" latinLnBrk="0" hangingPunct="0">
                <a:lnSpc>
                  <a:spcPct val="11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317997" algn="l"/>
                  <a:tab pos="574445" algn="l"/>
                </a:tabLst>
                <a:defRPr/>
              </a:pPr>
              <a:endParaRPr kumimoji="0" lang="th-TH" sz="1846" b="1" i="0" u="sng" strike="noStrike" kern="1200" cap="none" spc="0" normalizeH="0" baseline="0" noProof="0">
                <a:ln>
                  <a:noFill/>
                </a:ln>
                <a:solidFill>
                  <a:srgbClr val="77AE26"/>
                </a:solidFill>
                <a:effectLst>
                  <a:outerShdw blurRad="38100" dist="38100" dir="2700000" algn="tl">
                    <a:srgbClr val="C0C0C0"/>
                  </a:outerShdw>
                </a:effectLst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6" name="Rectangle 37"/>
            <p:cNvSpPr>
              <a:spLocks noChangeArrowheads="1"/>
            </p:cNvSpPr>
            <p:nvPr/>
          </p:nvSpPr>
          <p:spPr bwMode="auto">
            <a:xfrm>
              <a:off x="107504" y="740223"/>
              <a:ext cx="4079352" cy="5497089"/>
            </a:xfrm>
            <a:prstGeom prst="roundRect">
              <a:avLst>
                <a:gd name="adj" fmla="val 7778"/>
              </a:avLst>
            </a:prstGeom>
            <a:solidFill>
              <a:srgbClr val="FFD6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altLang="th-TH" sz="2585" b="0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Tahoma" panose="020B0604030504040204" pitchFamily="34" charset="0"/>
              </a:endParaRPr>
            </a:p>
          </p:txBody>
        </p:sp>
        <p:sp>
          <p:nvSpPr>
            <p:cNvPr id="7" name="Rectangle 38"/>
            <p:cNvSpPr>
              <a:spLocks noChangeArrowheads="1"/>
            </p:cNvSpPr>
            <p:nvPr/>
          </p:nvSpPr>
          <p:spPr bwMode="auto">
            <a:xfrm>
              <a:off x="4245980" y="602637"/>
              <a:ext cx="4810858" cy="51391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 eaLnBrk="0" hangingPunct="0"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altLang="th-TH" sz="2585" b="0" i="0" u="none" strike="noStrike" kern="1200" cap="none" spc="0" normalizeH="0" baseline="0" noProof="0">
                <a:ln>
                  <a:noFill/>
                </a:ln>
                <a:solidFill>
                  <a:srgbClr val="003366"/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Tahoma" panose="020B0604030504040204" pitchFamily="34" charset="0"/>
              </a:endParaRPr>
            </a:p>
          </p:txBody>
        </p:sp>
        <p:sp>
          <p:nvSpPr>
            <p:cNvPr id="9" name="Line 36"/>
            <p:cNvSpPr>
              <a:spLocks noChangeShapeType="1"/>
            </p:cNvSpPr>
            <p:nvPr/>
          </p:nvSpPr>
          <p:spPr bwMode="auto">
            <a:xfrm flipV="1">
              <a:off x="3563888" y="5764033"/>
              <a:ext cx="1817538" cy="0"/>
            </a:xfrm>
            <a:prstGeom prst="line">
              <a:avLst/>
            </a:prstGeom>
            <a:ln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none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sz="166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4" name="Rectangle 5"/>
            <p:cNvSpPr>
              <a:spLocks noChangeArrowheads="1"/>
            </p:cNvSpPr>
            <p:nvPr/>
          </p:nvSpPr>
          <p:spPr bwMode="auto">
            <a:xfrm>
              <a:off x="5350879" y="2060848"/>
              <a:ext cx="3597519" cy="562708"/>
            </a:xfrm>
            <a:prstGeom prst="roundRect">
              <a:avLst>
                <a:gd name="adj" fmla="val 34160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500" b="1" i="0" u="none" strike="noStrike" kern="0" normalizeH="0" baseline="0" noProof="0" dirty="0">
                  <a:solidFill>
                    <a:schemeClr val="tx1"/>
                  </a:solidFill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คณะกรรมการ</a:t>
              </a:r>
              <a:br>
                <a:rPr kumimoji="0" lang="th-TH" sz="1500" b="1" i="0" u="none" strike="noStrike" kern="0" normalizeH="0" baseline="0" noProof="0" dirty="0">
                  <a:solidFill>
                    <a:schemeClr val="tx1"/>
                  </a:solidFill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</a:br>
              <a:r>
                <a:rPr kumimoji="0" lang="th-TH" sz="1500" b="1" i="0" u="none" strike="noStrike" kern="0" normalizeH="0" baseline="0" noProof="0" dirty="0">
                  <a:solidFill>
                    <a:schemeClr val="tx1"/>
                  </a:solidFill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บริหารนโยบายพลังงาน (</a:t>
              </a:r>
              <a:r>
                <a:rPr kumimoji="0" lang="th-TH" sz="1500" b="1" i="0" u="none" strike="noStrike" kern="0" normalizeH="0" baseline="0" noProof="0" dirty="0" err="1">
                  <a:solidFill>
                    <a:schemeClr val="tx1"/>
                  </a:solidFill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กบง</a:t>
              </a:r>
              <a:r>
                <a:rPr kumimoji="0" lang="th-TH" sz="1500" b="1" i="0" u="none" strike="noStrike" kern="0" normalizeH="0" baseline="0" noProof="0" dirty="0">
                  <a:solidFill>
                    <a:schemeClr val="tx1"/>
                  </a:solidFill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.)</a:t>
              </a:r>
            </a:p>
          </p:txBody>
        </p:sp>
        <p:sp>
          <p:nvSpPr>
            <p:cNvPr id="15" name="Rectangle 6"/>
            <p:cNvSpPr>
              <a:spLocks noChangeArrowheads="1"/>
            </p:cNvSpPr>
            <p:nvPr/>
          </p:nvSpPr>
          <p:spPr bwMode="auto">
            <a:xfrm>
              <a:off x="5350879" y="3212976"/>
              <a:ext cx="3612174" cy="571500"/>
            </a:xfrm>
            <a:prstGeom prst="roundRect">
              <a:avLst>
                <a:gd name="adj" fmla="val 32186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tIns="9969" bIns="9969" anchor="ctr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500" b="1" i="0" u="none" strike="noStrike" kern="0" normalizeH="0" baseline="0" noProof="0" dirty="0">
                  <a:solidFill>
                    <a:schemeClr val="tx1"/>
                  </a:solidFill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คณะกรรมการกองทุน</a:t>
              </a:r>
              <a:br>
                <a:rPr kumimoji="0" lang="th-TH" sz="1500" b="1" i="0" u="none" strike="noStrike" kern="0" normalizeH="0" baseline="0" noProof="0" dirty="0">
                  <a:solidFill>
                    <a:schemeClr val="tx1"/>
                  </a:solidFill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</a:br>
              <a:r>
                <a:rPr kumimoji="0" lang="th-TH" sz="1500" b="1" i="0" u="none" strike="noStrike" kern="0" normalizeH="0" baseline="0" noProof="0" dirty="0">
                  <a:solidFill>
                    <a:schemeClr val="tx1"/>
                  </a:solidFill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เพื่อส่งเสริมการอนุรักษ์พลังงาน (กอ.)</a:t>
              </a:r>
            </a:p>
          </p:txBody>
        </p:sp>
        <p:sp>
          <p:nvSpPr>
            <p:cNvPr id="16" name="Rectangle 9"/>
            <p:cNvSpPr>
              <a:spLocks noChangeArrowheads="1"/>
            </p:cNvSpPr>
            <p:nvPr/>
          </p:nvSpPr>
          <p:spPr bwMode="auto">
            <a:xfrm>
              <a:off x="685800" y="809256"/>
              <a:ext cx="2874379" cy="492369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b="1" i="0" u="none" strike="noStrike" kern="0" normalizeH="0" baseline="0" noProof="0" dirty="0">
                  <a:solidFill>
                    <a:schemeClr val="bg1"/>
                  </a:solidFill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คณะรัฐมนตรี</a:t>
              </a:r>
            </a:p>
          </p:txBody>
        </p:sp>
        <p:sp>
          <p:nvSpPr>
            <p:cNvPr id="18" name="Line 28"/>
            <p:cNvSpPr>
              <a:spLocks noChangeShapeType="1"/>
            </p:cNvSpPr>
            <p:nvPr/>
          </p:nvSpPr>
          <p:spPr bwMode="auto">
            <a:xfrm>
              <a:off x="2195736" y="1301625"/>
              <a:ext cx="0" cy="1381858"/>
            </a:xfrm>
            <a:prstGeom prst="line">
              <a:avLst/>
            </a:prstGeom>
            <a:ln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none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sz="166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19" name="Line 29"/>
            <p:cNvSpPr>
              <a:spLocks noChangeShapeType="1"/>
            </p:cNvSpPr>
            <p:nvPr/>
          </p:nvSpPr>
          <p:spPr bwMode="auto">
            <a:xfrm>
              <a:off x="2195736" y="3296013"/>
              <a:ext cx="0" cy="2134093"/>
            </a:xfrm>
            <a:prstGeom prst="line">
              <a:avLst/>
            </a:prstGeom>
            <a:ln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none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sz="166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0" name="Line 31"/>
            <p:cNvSpPr>
              <a:spLocks noChangeShapeType="1"/>
            </p:cNvSpPr>
            <p:nvPr/>
          </p:nvSpPr>
          <p:spPr bwMode="auto">
            <a:xfrm flipH="1">
              <a:off x="3560180" y="1071560"/>
              <a:ext cx="782515" cy="0"/>
            </a:xfrm>
            <a:prstGeom prst="line">
              <a:avLst/>
            </a:prstGeom>
            <a:ln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none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sz="166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1" name="Line 32"/>
            <p:cNvSpPr>
              <a:spLocks noChangeShapeType="1"/>
            </p:cNvSpPr>
            <p:nvPr/>
          </p:nvSpPr>
          <p:spPr bwMode="auto">
            <a:xfrm>
              <a:off x="4774983" y="1301625"/>
              <a:ext cx="9332" cy="2194560"/>
            </a:xfrm>
            <a:prstGeom prst="line">
              <a:avLst/>
            </a:prstGeom>
            <a:ln>
              <a:headEnd/>
              <a:tailEnd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none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sz="166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2" name="Line 33"/>
            <p:cNvSpPr>
              <a:spLocks noChangeShapeType="1"/>
            </p:cNvSpPr>
            <p:nvPr/>
          </p:nvSpPr>
          <p:spPr bwMode="auto">
            <a:xfrm>
              <a:off x="4779379" y="2348880"/>
              <a:ext cx="572966" cy="0"/>
            </a:xfrm>
            <a:prstGeom prst="line">
              <a:avLst/>
            </a:prstGeom>
            <a:ln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none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sz="166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3" name="Line 34"/>
            <p:cNvSpPr>
              <a:spLocks noChangeShapeType="1"/>
            </p:cNvSpPr>
            <p:nvPr/>
          </p:nvSpPr>
          <p:spPr bwMode="auto">
            <a:xfrm flipV="1">
              <a:off x="4795157" y="3501008"/>
              <a:ext cx="572966" cy="8792"/>
            </a:xfrm>
            <a:prstGeom prst="line">
              <a:avLst/>
            </a:prstGeom>
            <a:ln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none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sz="166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4" name="Line 44"/>
            <p:cNvSpPr>
              <a:spLocks noChangeShapeType="1"/>
            </p:cNvSpPr>
            <p:nvPr/>
          </p:nvSpPr>
          <p:spPr bwMode="auto">
            <a:xfrm flipH="1">
              <a:off x="2828953" y="3220881"/>
              <a:ext cx="0" cy="332642"/>
            </a:xfrm>
            <a:prstGeom prst="line">
              <a:avLst/>
            </a:prstGeom>
            <a:ln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none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sz="166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25" name="TextBox 23"/>
            <p:cNvSpPr txBox="1">
              <a:spLocks noChangeArrowheads="1"/>
            </p:cNvSpPr>
            <p:nvPr/>
          </p:nvSpPr>
          <p:spPr bwMode="auto">
            <a:xfrm>
              <a:off x="6215456" y="2637079"/>
              <a:ext cx="2590800" cy="5758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tabLst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tabLst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tabLst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tabLst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tabLst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914400" algn="l"/>
                  <a:tab pos="1143000" algn="l"/>
                </a:tabLst>
                <a:defRPr/>
              </a:pP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ประธาน      </a:t>
              </a:r>
              <a:r>
                <a:rPr kumimoji="0" lang="en-US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: </a:t>
              </a: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	รมว.พน. 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914400" algn="l"/>
                  <a:tab pos="1143000" algn="l"/>
                </a:tabLst>
                <a:defRPr/>
              </a:pP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เลขานุการฯ </a:t>
              </a:r>
              <a:r>
                <a:rPr kumimoji="0" lang="en-US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: </a:t>
              </a: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	ผอ.</a:t>
              </a:r>
              <a:r>
                <a:rPr kumimoji="0" lang="th-TH" altLang="th-TH" sz="1200" i="0" strike="noStrike" kern="1200" cap="none" spc="0" normalizeH="0" baseline="0" noProof="0" dirty="0" err="1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สนพ</a:t>
              </a: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.  </a:t>
              </a:r>
            </a:p>
          </p:txBody>
        </p:sp>
        <p:sp>
          <p:nvSpPr>
            <p:cNvPr id="26" name="TextBox 24"/>
            <p:cNvSpPr txBox="1">
              <a:spLocks noChangeArrowheads="1"/>
            </p:cNvSpPr>
            <p:nvPr/>
          </p:nvSpPr>
          <p:spPr bwMode="auto">
            <a:xfrm>
              <a:off x="6215456" y="3789040"/>
              <a:ext cx="2590800" cy="5788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tabLst>
                  <a:tab pos="457200" algn="l"/>
                  <a:tab pos="685800" algn="l"/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tabLst>
                  <a:tab pos="457200" algn="l"/>
                  <a:tab pos="685800" algn="l"/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tabLst>
                  <a:tab pos="457200" algn="l"/>
                  <a:tab pos="685800" algn="l"/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tabLst>
                  <a:tab pos="457200" algn="l"/>
                  <a:tab pos="685800" algn="l"/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tabLst>
                  <a:tab pos="457200" algn="l"/>
                  <a:tab pos="685800" algn="l"/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57200" algn="l"/>
                  <a:tab pos="685800" algn="l"/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57200" algn="l"/>
                  <a:tab pos="685800" algn="l"/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57200" algn="l"/>
                  <a:tab pos="685800" algn="l"/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57200" algn="l"/>
                  <a:tab pos="685800" algn="l"/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457200" algn="l"/>
                  <a:tab pos="685800" algn="l"/>
                  <a:tab pos="914400" algn="l"/>
                  <a:tab pos="1143000" algn="l"/>
                </a:tabLst>
                <a:defRPr/>
              </a:pP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ประธาน      </a:t>
              </a:r>
              <a:r>
                <a:rPr kumimoji="0" lang="en-US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: </a:t>
              </a: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	รองนายกฯ</a:t>
              </a:r>
            </a:p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457200" algn="l"/>
                  <a:tab pos="685800" algn="l"/>
                  <a:tab pos="914400" algn="l"/>
                  <a:tab pos="1143000" algn="l"/>
                </a:tabLst>
                <a:defRPr/>
              </a:pP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เลขานุการฯ </a:t>
              </a:r>
              <a:r>
                <a:rPr kumimoji="0" lang="en-US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: </a:t>
              </a: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	ผอ.สนพ.</a:t>
              </a:r>
            </a:p>
          </p:txBody>
        </p:sp>
        <p:sp>
          <p:nvSpPr>
            <p:cNvPr id="27" name="TextBox 25"/>
            <p:cNvSpPr txBox="1">
              <a:spLocks noChangeArrowheads="1"/>
            </p:cNvSpPr>
            <p:nvPr/>
          </p:nvSpPr>
          <p:spPr bwMode="auto">
            <a:xfrm>
              <a:off x="6201626" y="1289852"/>
              <a:ext cx="2546838" cy="698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tabLst>
                  <a:tab pos="801688" algn="l"/>
                  <a:tab pos="895350" algn="l"/>
                  <a:tab pos="1143000" algn="l"/>
                  <a:tab pos="1162050" algn="l"/>
                  <a:tab pos="1438275" algn="l"/>
                  <a:tab pos="1790700" algn="l"/>
                  <a:tab pos="215265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tabLst>
                  <a:tab pos="801688" algn="l"/>
                  <a:tab pos="895350" algn="l"/>
                  <a:tab pos="1143000" algn="l"/>
                  <a:tab pos="1162050" algn="l"/>
                  <a:tab pos="1438275" algn="l"/>
                  <a:tab pos="1790700" algn="l"/>
                  <a:tab pos="215265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tabLst>
                  <a:tab pos="801688" algn="l"/>
                  <a:tab pos="895350" algn="l"/>
                  <a:tab pos="1143000" algn="l"/>
                  <a:tab pos="1162050" algn="l"/>
                  <a:tab pos="1438275" algn="l"/>
                  <a:tab pos="1790700" algn="l"/>
                  <a:tab pos="215265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tabLst>
                  <a:tab pos="801688" algn="l"/>
                  <a:tab pos="895350" algn="l"/>
                  <a:tab pos="1143000" algn="l"/>
                  <a:tab pos="1162050" algn="l"/>
                  <a:tab pos="1438275" algn="l"/>
                  <a:tab pos="1790700" algn="l"/>
                  <a:tab pos="215265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tabLst>
                  <a:tab pos="801688" algn="l"/>
                  <a:tab pos="895350" algn="l"/>
                  <a:tab pos="1143000" algn="l"/>
                  <a:tab pos="1162050" algn="l"/>
                  <a:tab pos="1438275" algn="l"/>
                  <a:tab pos="1790700" algn="l"/>
                  <a:tab pos="215265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01688" algn="l"/>
                  <a:tab pos="895350" algn="l"/>
                  <a:tab pos="1143000" algn="l"/>
                  <a:tab pos="1162050" algn="l"/>
                  <a:tab pos="1438275" algn="l"/>
                  <a:tab pos="1790700" algn="l"/>
                  <a:tab pos="215265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01688" algn="l"/>
                  <a:tab pos="895350" algn="l"/>
                  <a:tab pos="1143000" algn="l"/>
                  <a:tab pos="1162050" algn="l"/>
                  <a:tab pos="1438275" algn="l"/>
                  <a:tab pos="1790700" algn="l"/>
                  <a:tab pos="215265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01688" algn="l"/>
                  <a:tab pos="895350" algn="l"/>
                  <a:tab pos="1143000" algn="l"/>
                  <a:tab pos="1162050" algn="l"/>
                  <a:tab pos="1438275" algn="l"/>
                  <a:tab pos="1790700" algn="l"/>
                  <a:tab pos="215265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801688" algn="l"/>
                  <a:tab pos="895350" algn="l"/>
                  <a:tab pos="1143000" algn="l"/>
                  <a:tab pos="1162050" algn="l"/>
                  <a:tab pos="1438275" algn="l"/>
                  <a:tab pos="1790700" algn="l"/>
                  <a:tab pos="215265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801688" algn="l"/>
                  <a:tab pos="895350" algn="l"/>
                  <a:tab pos="1143000" algn="l"/>
                  <a:tab pos="1162050" algn="l"/>
                  <a:tab pos="1438275" algn="l"/>
                  <a:tab pos="1790700" algn="l"/>
                  <a:tab pos="2152650" algn="l"/>
                </a:tabLst>
                <a:defRPr/>
              </a:pP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ประธาน      </a:t>
              </a:r>
              <a:r>
                <a:rPr kumimoji="0" lang="en-US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: </a:t>
              </a: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	นายกฯ	</a:t>
              </a:r>
              <a:b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</a:b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รองประธาน </a:t>
              </a:r>
              <a:r>
                <a:rPr kumimoji="0" lang="en-US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: </a:t>
              </a: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	รองนายกฯ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801688" algn="l"/>
                  <a:tab pos="895350" algn="l"/>
                  <a:tab pos="1143000" algn="l"/>
                  <a:tab pos="1162050" algn="l"/>
                  <a:tab pos="1438275" algn="l"/>
                  <a:tab pos="1790700" algn="l"/>
                  <a:tab pos="2152650" algn="l"/>
                </a:tabLst>
                <a:defRPr/>
              </a:pP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เลขานุการฯ </a:t>
              </a:r>
              <a:r>
                <a:rPr kumimoji="0" lang="en-US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: </a:t>
              </a: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	ผอ.</a:t>
              </a:r>
              <a:r>
                <a:rPr kumimoji="0" lang="th-TH" altLang="th-TH" sz="1200" i="0" strike="noStrike" kern="1200" cap="none" spc="0" normalizeH="0" baseline="0" noProof="0" dirty="0" err="1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สนพ</a:t>
              </a: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.</a:t>
              </a:r>
            </a:p>
          </p:txBody>
        </p:sp>
        <p:sp>
          <p:nvSpPr>
            <p:cNvPr id="29" name="Rectangle 2"/>
            <p:cNvSpPr>
              <a:spLocks noChangeArrowheads="1"/>
            </p:cNvSpPr>
            <p:nvPr/>
          </p:nvSpPr>
          <p:spPr bwMode="auto">
            <a:xfrm>
              <a:off x="3941180" y="809256"/>
              <a:ext cx="5039458" cy="492369"/>
            </a:xfrm>
            <a:prstGeom prst="roundRect">
              <a:avLst/>
            </a:prstGeom>
            <a:ln/>
          </p:spPr>
          <p:style>
            <a:lnRef idx="3">
              <a:schemeClr val="lt1"/>
            </a:lnRef>
            <a:fillRef idx="1">
              <a:schemeClr val="accent2"/>
            </a:fillRef>
            <a:effectRef idx="1">
              <a:schemeClr val="accent2"/>
            </a:effectRef>
            <a:fontRef idx="minor">
              <a:schemeClr val="lt1"/>
            </a:fontRef>
          </p:style>
          <p:txBody>
            <a:bodyPr wrap="none" anchor="ctr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5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คณะกรรมการนโยบายพลังงานแห่งชาติ (</a:t>
              </a:r>
              <a:r>
                <a:rPr kumimoji="0" lang="th-TH" sz="1500" b="1" i="0" u="none" strike="noStrike" kern="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กพช</a:t>
              </a:r>
              <a:r>
                <a:rPr kumimoji="0" lang="th-TH" sz="1500" b="1" i="0" u="none" strike="noStrike" kern="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.)</a:t>
              </a:r>
            </a:p>
          </p:txBody>
        </p:sp>
        <p:sp>
          <p:nvSpPr>
            <p:cNvPr id="33" name="Rectangle 3"/>
            <p:cNvSpPr>
              <a:spLocks noChangeArrowheads="1"/>
            </p:cNvSpPr>
            <p:nvPr/>
          </p:nvSpPr>
          <p:spPr bwMode="auto">
            <a:xfrm>
              <a:off x="759337" y="5430107"/>
              <a:ext cx="2799301" cy="511419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b="1" i="0" u="none" strike="noStrike" kern="0" normalizeH="0" baseline="0" noProof="0" dirty="0">
                  <a:solidFill>
                    <a:schemeClr val="bg1"/>
                  </a:solidFill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ปลัดกระทรวงพลังงาน</a:t>
              </a:r>
            </a:p>
          </p:txBody>
        </p:sp>
        <p:sp>
          <p:nvSpPr>
            <p:cNvPr id="35" name="Line 44"/>
            <p:cNvSpPr>
              <a:spLocks noChangeShapeType="1"/>
            </p:cNvSpPr>
            <p:nvPr/>
          </p:nvSpPr>
          <p:spPr bwMode="auto">
            <a:xfrm flipH="1">
              <a:off x="1331640" y="3220881"/>
              <a:ext cx="0" cy="332642"/>
            </a:xfrm>
            <a:prstGeom prst="line">
              <a:avLst/>
            </a:prstGeom>
            <a:ln>
              <a:headEnd/>
              <a:tailEnd type="triangl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wrap="none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th-TH" sz="1662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36" name="Rectangle 5"/>
            <p:cNvSpPr>
              <a:spLocks noChangeArrowheads="1"/>
            </p:cNvSpPr>
            <p:nvPr/>
          </p:nvSpPr>
          <p:spPr bwMode="auto">
            <a:xfrm>
              <a:off x="5381426" y="4206124"/>
              <a:ext cx="3551080" cy="574695"/>
            </a:xfrm>
            <a:prstGeom prst="roundRect">
              <a:avLst>
                <a:gd name="adj" fmla="val 34160"/>
              </a:avLst>
            </a:pr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lvl="0" algn="ctr" eaLnBrk="0">
                <a:defRPr/>
              </a:pPr>
              <a:r>
                <a:rPr lang="th-TH" sz="1500" b="1" dirty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คณะกรรมการบริหาร</a:t>
              </a:r>
            </a:p>
            <a:p>
              <a:pPr lvl="0" algn="ctr" eaLnBrk="0">
                <a:defRPr/>
              </a:pPr>
              <a:r>
                <a:rPr lang="th-TH" sz="1500" b="1" dirty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กองทุนน้ำมันเชื้อเพลิง</a:t>
              </a:r>
              <a:r>
                <a:rPr lang="en-US" sz="1100" b="1" dirty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*</a:t>
              </a:r>
              <a:endParaRPr lang="th-TH" sz="15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cxnSp>
          <p:nvCxnSpPr>
            <p:cNvPr id="37" name="Elbow Connector 36"/>
            <p:cNvCxnSpPr>
              <a:stCxn id="41" idx="2"/>
            </p:cNvCxnSpPr>
            <p:nvPr/>
          </p:nvCxnSpPr>
          <p:spPr>
            <a:xfrm rot="16200000" flipH="1">
              <a:off x="3977140" y="3176555"/>
              <a:ext cx="587894" cy="2159583"/>
            </a:xfrm>
            <a:prstGeom prst="bentConnector2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9" name="TextBox 24"/>
            <p:cNvSpPr txBox="1">
              <a:spLocks noChangeArrowheads="1"/>
            </p:cNvSpPr>
            <p:nvPr/>
          </p:nvSpPr>
          <p:spPr bwMode="auto">
            <a:xfrm>
              <a:off x="6201626" y="4755173"/>
              <a:ext cx="2590800" cy="5788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eaLnBrk="0" hangingPunct="0">
                <a:tabLst>
                  <a:tab pos="457200" algn="l"/>
                  <a:tab pos="685800" algn="l"/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tabLst>
                  <a:tab pos="457200" algn="l"/>
                  <a:tab pos="685800" algn="l"/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tabLst>
                  <a:tab pos="457200" algn="l"/>
                  <a:tab pos="685800" algn="l"/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tabLst>
                  <a:tab pos="457200" algn="l"/>
                  <a:tab pos="685800" algn="l"/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tabLst>
                  <a:tab pos="457200" algn="l"/>
                  <a:tab pos="685800" algn="l"/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57200" algn="l"/>
                  <a:tab pos="685800" algn="l"/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57200" algn="l"/>
                  <a:tab pos="685800" algn="l"/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57200" algn="l"/>
                  <a:tab pos="685800" algn="l"/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57200" algn="l"/>
                  <a:tab pos="685800" algn="l"/>
                  <a:tab pos="914400" algn="l"/>
                  <a:tab pos="1143000" algn="l"/>
                </a:tabLst>
                <a:defRPr sz="28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457200" algn="l"/>
                  <a:tab pos="685800" algn="l"/>
                  <a:tab pos="914400" algn="l"/>
                  <a:tab pos="1143000" algn="l"/>
                </a:tabLst>
                <a:defRPr/>
              </a:pP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ประธาน      </a:t>
              </a:r>
              <a:r>
                <a:rPr kumimoji="0" lang="en-US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: </a:t>
              </a: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	รมว.พน.</a:t>
              </a:r>
            </a:p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457200" algn="l"/>
                  <a:tab pos="685800" algn="l"/>
                  <a:tab pos="914400" algn="l"/>
                  <a:tab pos="1143000" algn="l"/>
                </a:tabLst>
                <a:defRPr/>
              </a:pP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เลขานุการฯ </a:t>
              </a:r>
              <a:r>
                <a:rPr kumimoji="0" lang="en-US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: </a:t>
              </a:r>
              <a:r>
                <a:rPr kumimoji="0" lang="th-TH" altLang="th-TH" sz="1200" i="0" strike="noStrike" kern="1200" cap="none" spc="0" normalizeH="0" baseline="0" noProof="0" dirty="0">
                  <a:ln>
                    <a:noFill/>
                  </a:ln>
                  <a:solidFill>
                    <a:schemeClr val="tx1">
                      <a:lumMod val="65000"/>
                      <a:lumOff val="35000"/>
                    </a:schemeClr>
                  </a:solidFill>
                  <a:effectLst/>
                  <a:uLnTx/>
                  <a:uFillTx/>
                  <a:latin typeface="Tahoma" panose="020B0604030504040204" pitchFamily="34" charset="0"/>
                  <a:ea typeface="+mn-ea"/>
                  <a:cs typeface="Tahoma" panose="020B0604030504040204" pitchFamily="34" charset="0"/>
                </a:rPr>
                <a:t>	ผอ.สนง.กองทุนฯ</a:t>
              </a:r>
            </a:p>
            <a:p>
              <a:pPr marL="0" marR="0" lvl="0" indent="0" algn="l" defTabSz="914400" rtl="0" eaLnBrk="1" fontAlgn="base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457200" algn="l"/>
                  <a:tab pos="685800" algn="l"/>
                  <a:tab pos="914400" algn="l"/>
                  <a:tab pos="1143000" algn="l"/>
                </a:tabLst>
                <a:defRPr/>
              </a:pPr>
              <a:endParaRPr kumimoji="0" lang="th-TH" altLang="th-TH" sz="1200" i="0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65000"/>
                    <a:lumOff val="35000"/>
                  </a:schemeClr>
                </a:solidFill>
                <a:effectLst/>
                <a:uLnTx/>
                <a:uFillTx/>
                <a:latin typeface="Tahoma" panose="020B0604030504040204" pitchFamily="34" charset="0"/>
                <a:ea typeface="+mn-ea"/>
                <a:cs typeface="Tahoma" panose="020B0604030504040204" pitchFamily="34" charset="0"/>
              </a:endParaRPr>
            </a:p>
          </p:txBody>
        </p:sp>
        <p:sp>
          <p:nvSpPr>
            <p:cNvPr id="40" name="Rectangle 51"/>
            <p:cNvSpPr/>
            <p:nvPr/>
          </p:nvSpPr>
          <p:spPr>
            <a:xfrm>
              <a:off x="339279" y="3573837"/>
              <a:ext cx="1791144" cy="360362"/>
            </a:xfrm>
            <a:prstGeom prst="rect">
              <a:avLst/>
            </a:prstGeom>
            <a:ln w="3175"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anchor="ctr"/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คณะกรรมการ</a:t>
              </a:r>
            </a:p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กำกับกิจการพลังงาน</a:t>
              </a:r>
            </a:p>
          </p:txBody>
        </p:sp>
        <p:sp>
          <p:nvSpPr>
            <p:cNvPr id="41" name="Text Box 113"/>
            <p:cNvSpPr txBox="1">
              <a:spLocks noChangeArrowheads="1"/>
            </p:cNvSpPr>
            <p:nvPr/>
          </p:nvSpPr>
          <p:spPr bwMode="auto">
            <a:xfrm>
              <a:off x="2277194" y="3562290"/>
              <a:ext cx="1828204" cy="400110"/>
            </a:xfrm>
            <a:prstGeom prst="rect">
              <a:avLst/>
            </a:prstGeom>
            <a:ln w="3175"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Font typeface="Arial" pitchFamily="34" charset="0"/>
                <a:buChar char="•"/>
                <a:defRPr sz="28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Font typeface="Arial" pitchFamily="34" charset="0"/>
                <a:buChar char="–"/>
                <a:defRPr sz="24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Font typeface="Arial" pitchFamily="34" charset="0"/>
                <a:buChar char="•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Font typeface="Arial" pitchFamily="34" charset="0"/>
                <a:buChar char="–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Font typeface="Arial" pitchFamily="34" charset="0"/>
                <a:buChar char="»"/>
                <a:defRPr sz="2000">
                  <a:solidFill>
                    <a:schemeClr val="tx1"/>
                  </a:solidFill>
                  <a:latin typeface="Tahoma" pitchFamily="34" charset="0"/>
                  <a:cs typeface="Tahoma" pitchFamily="34" charset="0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คณะกรรมการบริหาร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itchFamily="34" charset="0"/>
                <a:buNone/>
                <a:tabLst/>
                <a:defRPr/>
              </a:pPr>
              <a:r>
                <a:rPr kumimoji="0" lang="th-TH" altLang="th-TH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Tahoma" pitchFamily="34" charset="0"/>
                </a:rPr>
                <a:t>กองทุนน้ำมันเชื้อเพลิง*</a:t>
              </a:r>
            </a:p>
          </p:txBody>
        </p:sp>
        <p:sp>
          <p:nvSpPr>
            <p:cNvPr id="30" name="Rectangle 4"/>
            <p:cNvSpPr>
              <a:spLocks noChangeArrowheads="1"/>
            </p:cNvSpPr>
            <p:nvPr/>
          </p:nvSpPr>
          <p:spPr bwMode="auto">
            <a:xfrm>
              <a:off x="685800" y="2683483"/>
              <a:ext cx="2874379" cy="637442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b="1" i="0" u="none" strike="noStrike" kern="0" normalizeH="0" baseline="0" noProof="0" dirty="0">
                  <a:solidFill>
                    <a:schemeClr val="bg1"/>
                  </a:solidFill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รัฐมนตรีว่าการ</a:t>
              </a:r>
            </a:p>
            <a:p>
              <a:pPr marL="0" marR="0" lvl="0" indent="0" algn="ctr" defTabSz="914400" rtl="0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b="1" i="0" u="none" strike="noStrike" kern="0" normalizeH="0" baseline="0" noProof="0" dirty="0">
                  <a:solidFill>
                    <a:schemeClr val="bg1"/>
                  </a:solidFill>
                  <a:uLnTx/>
                  <a:uFillTx/>
                  <a:latin typeface="Tahoma" pitchFamily="34" charset="0"/>
                  <a:ea typeface="Tahoma" pitchFamily="34" charset="0"/>
                  <a:cs typeface="Tahoma" pitchFamily="34" charset="0"/>
                </a:rPr>
                <a:t>กระทรวงพลังงาน</a:t>
              </a:r>
              <a:endParaRPr kumimoji="0" lang="th-TH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pic>
          <p:nvPicPr>
            <p:cNvPr id="42" name="Picture 41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350879" y="5283022"/>
              <a:ext cx="2116721" cy="8912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45" name="Rectangle 5"/>
            <p:cNvSpPr>
              <a:spLocks noChangeArrowheads="1"/>
            </p:cNvSpPr>
            <p:nvPr/>
          </p:nvSpPr>
          <p:spPr bwMode="auto">
            <a:xfrm>
              <a:off x="7313754" y="5408479"/>
              <a:ext cx="1552774" cy="574695"/>
            </a:xfrm>
            <a:prstGeom prst="roundRect">
              <a:avLst>
                <a:gd name="adj" fmla="val 34160"/>
              </a:avLst>
            </a:pr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wrap="none" anchor="ctr"/>
            <a:lstStyle/>
            <a:p>
              <a:pPr algn="ctr" eaLnBrk="0">
                <a:defRPr/>
              </a:pPr>
              <a:r>
                <a:rPr lang="th-TH" sz="1500" b="1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เลขานุการ</a:t>
              </a:r>
              <a:endParaRPr lang="en-US" sz="15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  <a:p>
              <a:pPr algn="ctr" eaLnBrk="0">
                <a:defRPr/>
              </a:pPr>
              <a:r>
                <a:rPr lang="th-TH" sz="1500" b="1" dirty="0">
                  <a:solidFill>
                    <a:srgbClr val="000000"/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คณะกรรมการ</a:t>
              </a:r>
              <a:endParaRPr lang="th-TH" sz="1500" b="1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34" name="TextBox 33">
            <a:extLst>
              <a:ext uri="{FF2B5EF4-FFF2-40B4-BE49-F238E27FC236}">
                <a16:creationId xmlns:a16="http://schemas.microsoft.com/office/drawing/2014/main" id="{1ECED006-8541-499C-912F-6EDC092BAD2D}"/>
              </a:ext>
            </a:extLst>
          </p:cNvPr>
          <p:cNvSpPr txBox="1"/>
          <p:nvPr/>
        </p:nvSpPr>
        <p:spPr>
          <a:xfrm>
            <a:off x="165713" y="6506494"/>
            <a:ext cx="349188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*</a:t>
            </a:r>
            <a:r>
              <a:rPr kumimoji="0" lang="th-TH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ตาม </a:t>
            </a:r>
            <a:r>
              <a:rPr lang="th-TH" sz="1100" kern="1200" dirty="0">
                <a:solidFill>
                  <a:prstClr val="black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พระราชบัญญัติกองทุนน้ำมันเชื้อเพลิง พ.ศ. 2562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2337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Title 369"/>
          <p:cNvSpPr>
            <a:spLocks noGrp="1"/>
          </p:cNvSpPr>
          <p:nvPr>
            <p:ph type="title"/>
          </p:nvPr>
        </p:nvSpPr>
        <p:spPr>
          <a:xfrm>
            <a:off x="120068" y="49893"/>
            <a:ext cx="6588224" cy="511220"/>
          </a:xfrm>
          <a:noFill/>
          <a:ln>
            <a:noFill/>
          </a:ln>
        </p:spPr>
        <p:txBody>
          <a:bodyPr anchor="ctr"/>
          <a:lstStyle/>
          <a:p>
            <a:r>
              <a:rPr lang="th-TH" sz="2000" b="1" dirty="0">
                <a:solidFill>
                  <a:schemeClr val="tx1"/>
                </a:solidFill>
              </a:rPr>
              <a:t> โครงสร้างคณะกรรมการด้านพลังงาน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433D87A-DCF0-47FB-9291-47CC07B59C9F}"/>
              </a:ext>
            </a:extLst>
          </p:cNvPr>
          <p:cNvGrpSpPr/>
          <p:nvPr/>
        </p:nvGrpSpPr>
        <p:grpSpPr>
          <a:xfrm>
            <a:off x="88165" y="905564"/>
            <a:ext cx="9120395" cy="5486297"/>
            <a:chOff x="88165" y="905564"/>
            <a:chExt cx="9120395" cy="5486297"/>
          </a:xfrm>
        </p:grpSpPr>
        <p:cxnSp>
          <p:nvCxnSpPr>
            <p:cNvPr id="5" name="Straight Connector 4"/>
            <p:cNvCxnSpPr/>
            <p:nvPr/>
          </p:nvCxnSpPr>
          <p:spPr>
            <a:xfrm>
              <a:off x="7025476" y="2814311"/>
              <a:ext cx="0" cy="463731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Elbow Connector 5"/>
            <p:cNvCxnSpPr/>
            <p:nvPr/>
          </p:nvCxnSpPr>
          <p:spPr>
            <a:xfrm rot="16200000" flipH="1">
              <a:off x="3200604" y="2596203"/>
              <a:ext cx="252000" cy="792000"/>
            </a:xfrm>
            <a:prstGeom prst="bentConnector3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Elbow Connector 6"/>
            <p:cNvCxnSpPr/>
            <p:nvPr/>
          </p:nvCxnSpPr>
          <p:spPr>
            <a:xfrm rot="5400000">
              <a:off x="2096497" y="2403133"/>
              <a:ext cx="457200" cy="1188720"/>
            </a:xfrm>
            <a:prstGeom prst="bentConnector3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Straight Connector 7"/>
            <p:cNvCxnSpPr/>
            <p:nvPr/>
          </p:nvCxnSpPr>
          <p:spPr>
            <a:xfrm>
              <a:off x="7025475" y="2092818"/>
              <a:ext cx="0" cy="288000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2919029" y="2098362"/>
              <a:ext cx="0" cy="288000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>
              <a:off x="4951352" y="1347875"/>
              <a:ext cx="0" cy="288000"/>
            </a:xfrm>
            <a:prstGeom prst="line">
              <a:avLst/>
            </a:prstGeom>
            <a:ln w="571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Freeform 10"/>
            <p:cNvSpPr/>
            <p:nvPr/>
          </p:nvSpPr>
          <p:spPr>
            <a:xfrm>
              <a:off x="886707" y="905564"/>
              <a:ext cx="8129291" cy="514484"/>
            </a:xfrm>
            <a:custGeom>
              <a:avLst/>
              <a:gdLst>
                <a:gd name="connsiteX0" fmla="*/ 0 w 8129291"/>
                <a:gd name="connsiteY0" fmla="*/ 73031 h 730311"/>
                <a:gd name="connsiteX1" fmla="*/ 73031 w 8129291"/>
                <a:gd name="connsiteY1" fmla="*/ 0 h 730311"/>
                <a:gd name="connsiteX2" fmla="*/ 8056260 w 8129291"/>
                <a:gd name="connsiteY2" fmla="*/ 0 h 730311"/>
                <a:gd name="connsiteX3" fmla="*/ 8129291 w 8129291"/>
                <a:gd name="connsiteY3" fmla="*/ 73031 h 730311"/>
                <a:gd name="connsiteX4" fmla="*/ 8129291 w 8129291"/>
                <a:gd name="connsiteY4" fmla="*/ 657280 h 730311"/>
                <a:gd name="connsiteX5" fmla="*/ 8056260 w 8129291"/>
                <a:gd name="connsiteY5" fmla="*/ 730311 h 730311"/>
                <a:gd name="connsiteX6" fmla="*/ 73031 w 8129291"/>
                <a:gd name="connsiteY6" fmla="*/ 730311 h 730311"/>
                <a:gd name="connsiteX7" fmla="*/ 0 w 8129291"/>
                <a:gd name="connsiteY7" fmla="*/ 657280 h 730311"/>
                <a:gd name="connsiteX8" fmla="*/ 0 w 8129291"/>
                <a:gd name="connsiteY8" fmla="*/ 73031 h 730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129291" h="730311">
                  <a:moveTo>
                    <a:pt x="0" y="73031"/>
                  </a:moveTo>
                  <a:cubicBezTo>
                    <a:pt x="0" y="32697"/>
                    <a:pt x="32697" y="0"/>
                    <a:pt x="73031" y="0"/>
                  </a:cubicBezTo>
                  <a:lnTo>
                    <a:pt x="8056260" y="0"/>
                  </a:lnTo>
                  <a:cubicBezTo>
                    <a:pt x="8096594" y="0"/>
                    <a:pt x="8129291" y="32697"/>
                    <a:pt x="8129291" y="73031"/>
                  </a:cubicBezTo>
                  <a:lnTo>
                    <a:pt x="8129291" y="657280"/>
                  </a:lnTo>
                  <a:cubicBezTo>
                    <a:pt x="8129291" y="697614"/>
                    <a:pt x="8096594" y="730311"/>
                    <a:pt x="8056260" y="730311"/>
                  </a:cubicBezTo>
                  <a:lnTo>
                    <a:pt x="73031" y="730311"/>
                  </a:lnTo>
                  <a:cubicBezTo>
                    <a:pt x="32697" y="730311"/>
                    <a:pt x="0" y="697614"/>
                    <a:pt x="0" y="657280"/>
                  </a:cubicBezTo>
                  <a:lnTo>
                    <a:pt x="0" y="73031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spcFirstLastPara="0" vert="horz" wrap="square" lIns="147120" tIns="147120" rIns="147120" bIns="147120" numCol="1" spcCol="1270" anchor="ctr" anchorCtr="0">
              <a:noAutofit/>
            </a:bodyPr>
            <a:lstStyle/>
            <a:p>
              <a:pPr marL="0" marR="0" lvl="0" indent="0" algn="ctr" defTabSz="14668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คณะรัฐมนตรี</a:t>
              </a:r>
            </a:p>
          </p:txBody>
        </p:sp>
        <p:sp>
          <p:nvSpPr>
            <p:cNvPr id="12" name="Freeform 11"/>
            <p:cNvSpPr/>
            <p:nvPr/>
          </p:nvSpPr>
          <p:spPr>
            <a:xfrm>
              <a:off x="886707" y="1575958"/>
              <a:ext cx="8129291" cy="517108"/>
            </a:xfrm>
            <a:custGeom>
              <a:avLst/>
              <a:gdLst>
                <a:gd name="connsiteX0" fmla="*/ 0 w 8129291"/>
                <a:gd name="connsiteY0" fmla="*/ 73031 h 730311"/>
                <a:gd name="connsiteX1" fmla="*/ 73031 w 8129291"/>
                <a:gd name="connsiteY1" fmla="*/ 0 h 730311"/>
                <a:gd name="connsiteX2" fmla="*/ 8056260 w 8129291"/>
                <a:gd name="connsiteY2" fmla="*/ 0 h 730311"/>
                <a:gd name="connsiteX3" fmla="*/ 8129291 w 8129291"/>
                <a:gd name="connsiteY3" fmla="*/ 73031 h 730311"/>
                <a:gd name="connsiteX4" fmla="*/ 8129291 w 8129291"/>
                <a:gd name="connsiteY4" fmla="*/ 657280 h 730311"/>
                <a:gd name="connsiteX5" fmla="*/ 8056260 w 8129291"/>
                <a:gd name="connsiteY5" fmla="*/ 730311 h 730311"/>
                <a:gd name="connsiteX6" fmla="*/ 73031 w 8129291"/>
                <a:gd name="connsiteY6" fmla="*/ 730311 h 730311"/>
                <a:gd name="connsiteX7" fmla="*/ 0 w 8129291"/>
                <a:gd name="connsiteY7" fmla="*/ 657280 h 730311"/>
                <a:gd name="connsiteX8" fmla="*/ 0 w 8129291"/>
                <a:gd name="connsiteY8" fmla="*/ 73031 h 730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8129291" h="730311">
                  <a:moveTo>
                    <a:pt x="0" y="73031"/>
                  </a:moveTo>
                  <a:cubicBezTo>
                    <a:pt x="0" y="32697"/>
                    <a:pt x="32697" y="0"/>
                    <a:pt x="73031" y="0"/>
                  </a:cubicBezTo>
                  <a:lnTo>
                    <a:pt x="8056260" y="0"/>
                  </a:lnTo>
                  <a:cubicBezTo>
                    <a:pt x="8096594" y="0"/>
                    <a:pt x="8129291" y="32697"/>
                    <a:pt x="8129291" y="73031"/>
                  </a:cubicBezTo>
                  <a:lnTo>
                    <a:pt x="8129291" y="657280"/>
                  </a:lnTo>
                  <a:cubicBezTo>
                    <a:pt x="8129291" y="697614"/>
                    <a:pt x="8096594" y="730311"/>
                    <a:pt x="8056260" y="730311"/>
                  </a:cubicBezTo>
                  <a:lnTo>
                    <a:pt x="73031" y="730311"/>
                  </a:lnTo>
                  <a:cubicBezTo>
                    <a:pt x="32697" y="730311"/>
                    <a:pt x="0" y="697614"/>
                    <a:pt x="0" y="657280"/>
                  </a:cubicBezTo>
                  <a:lnTo>
                    <a:pt x="0" y="73031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spcFirstLastPara="0" vert="horz" wrap="square" lIns="147120" tIns="147120" rIns="147120" bIns="147120" numCol="1" spcCol="1270" anchor="ctr" anchorCtr="0">
              <a:noAutofit/>
            </a:bodyPr>
            <a:lstStyle/>
            <a:p>
              <a:pPr marL="0" marR="0" lvl="0" indent="0" algn="ctr" defTabSz="14668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คณะกรรมการนโยบายพลังงานแห่งชาติ (</a:t>
              </a:r>
              <a:r>
                <a:rPr kumimoji="0" lang="th-TH" sz="20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พช</a:t>
              </a:r>
              <a:r>
                <a:rPr kumimoji="0" lang="th-TH" sz="20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)</a:t>
              </a:r>
            </a:p>
          </p:txBody>
        </p:sp>
        <p:sp>
          <p:nvSpPr>
            <p:cNvPr id="13" name="Freeform 12"/>
            <p:cNvSpPr/>
            <p:nvPr/>
          </p:nvSpPr>
          <p:spPr>
            <a:xfrm>
              <a:off x="886707" y="2265439"/>
              <a:ext cx="4064645" cy="561574"/>
            </a:xfrm>
            <a:custGeom>
              <a:avLst/>
              <a:gdLst>
                <a:gd name="connsiteX0" fmla="*/ 0 w 3981043"/>
                <a:gd name="connsiteY0" fmla="*/ 73031 h 730311"/>
                <a:gd name="connsiteX1" fmla="*/ 73031 w 3981043"/>
                <a:gd name="connsiteY1" fmla="*/ 0 h 730311"/>
                <a:gd name="connsiteX2" fmla="*/ 3908012 w 3981043"/>
                <a:gd name="connsiteY2" fmla="*/ 0 h 730311"/>
                <a:gd name="connsiteX3" fmla="*/ 3981043 w 3981043"/>
                <a:gd name="connsiteY3" fmla="*/ 73031 h 730311"/>
                <a:gd name="connsiteX4" fmla="*/ 3981043 w 3981043"/>
                <a:gd name="connsiteY4" fmla="*/ 657280 h 730311"/>
                <a:gd name="connsiteX5" fmla="*/ 3908012 w 3981043"/>
                <a:gd name="connsiteY5" fmla="*/ 730311 h 730311"/>
                <a:gd name="connsiteX6" fmla="*/ 73031 w 3981043"/>
                <a:gd name="connsiteY6" fmla="*/ 730311 h 730311"/>
                <a:gd name="connsiteX7" fmla="*/ 0 w 3981043"/>
                <a:gd name="connsiteY7" fmla="*/ 657280 h 730311"/>
                <a:gd name="connsiteX8" fmla="*/ 0 w 3981043"/>
                <a:gd name="connsiteY8" fmla="*/ 73031 h 730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81043" h="730311">
                  <a:moveTo>
                    <a:pt x="0" y="73031"/>
                  </a:moveTo>
                  <a:cubicBezTo>
                    <a:pt x="0" y="32697"/>
                    <a:pt x="32697" y="0"/>
                    <a:pt x="73031" y="0"/>
                  </a:cubicBezTo>
                  <a:lnTo>
                    <a:pt x="3908012" y="0"/>
                  </a:lnTo>
                  <a:cubicBezTo>
                    <a:pt x="3948346" y="0"/>
                    <a:pt x="3981043" y="32697"/>
                    <a:pt x="3981043" y="73031"/>
                  </a:cubicBezTo>
                  <a:lnTo>
                    <a:pt x="3981043" y="657280"/>
                  </a:lnTo>
                  <a:cubicBezTo>
                    <a:pt x="3981043" y="697614"/>
                    <a:pt x="3948346" y="730311"/>
                    <a:pt x="3908012" y="730311"/>
                  </a:cubicBezTo>
                  <a:lnTo>
                    <a:pt x="73031" y="730311"/>
                  </a:lnTo>
                  <a:cubicBezTo>
                    <a:pt x="32697" y="730311"/>
                    <a:pt x="0" y="697614"/>
                    <a:pt x="0" y="657280"/>
                  </a:cubicBezTo>
                  <a:lnTo>
                    <a:pt x="0" y="73031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spcFirstLastPara="0" vert="horz" wrap="square" lIns="109020" tIns="109020" rIns="109020" bIns="109020" numCol="1" spcCol="1270" anchor="ctr" anchorCtr="0">
              <a:noAutofit/>
            </a:bodyPr>
            <a:lstStyle/>
            <a:p>
              <a:pPr marL="0" marR="0" lvl="0" indent="0" algn="ctr" defTabSz="10223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คณะกรรมการบริหารนโยบายพลังงาน (</a:t>
              </a:r>
              <a:r>
                <a:rPr kumimoji="0" lang="th-TH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บง</a:t>
              </a: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)</a:t>
              </a:r>
            </a:p>
          </p:txBody>
        </p:sp>
        <p:sp>
          <p:nvSpPr>
            <p:cNvPr id="14" name="Freeform 13"/>
            <p:cNvSpPr/>
            <p:nvPr/>
          </p:nvSpPr>
          <p:spPr>
            <a:xfrm>
              <a:off x="5034954" y="2242290"/>
              <a:ext cx="3981043" cy="586688"/>
            </a:xfrm>
            <a:custGeom>
              <a:avLst/>
              <a:gdLst>
                <a:gd name="connsiteX0" fmla="*/ 0 w 3981043"/>
                <a:gd name="connsiteY0" fmla="*/ 73031 h 730311"/>
                <a:gd name="connsiteX1" fmla="*/ 73031 w 3981043"/>
                <a:gd name="connsiteY1" fmla="*/ 0 h 730311"/>
                <a:gd name="connsiteX2" fmla="*/ 3908012 w 3981043"/>
                <a:gd name="connsiteY2" fmla="*/ 0 h 730311"/>
                <a:gd name="connsiteX3" fmla="*/ 3981043 w 3981043"/>
                <a:gd name="connsiteY3" fmla="*/ 73031 h 730311"/>
                <a:gd name="connsiteX4" fmla="*/ 3981043 w 3981043"/>
                <a:gd name="connsiteY4" fmla="*/ 657280 h 730311"/>
                <a:gd name="connsiteX5" fmla="*/ 3908012 w 3981043"/>
                <a:gd name="connsiteY5" fmla="*/ 730311 h 730311"/>
                <a:gd name="connsiteX6" fmla="*/ 73031 w 3981043"/>
                <a:gd name="connsiteY6" fmla="*/ 730311 h 730311"/>
                <a:gd name="connsiteX7" fmla="*/ 0 w 3981043"/>
                <a:gd name="connsiteY7" fmla="*/ 657280 h 730311"/>
                <a:gd name="connsiteX8" fmla="*/ 0 w 3981043"/>
                <a:gd name="connsiteY8" fmla="*/ 73031 h 730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81043" h="730311">
                  <a:moveTo>
                    <a:pt x="0" y="73031"/>
                  </a:moveTo>
                  <a:cubicBezTo>
                    <a:pt x="0" y="32697"/>
                    <a:pt x="32697" y="0"/>
                    <a:pt x="73031" y="0"/>
                  </a:cubicBezTo>
                  <a:lnTo>
                    <a:pt x="3908012" y="0"/>
                  </a:lnTo>
                  <a:cubicBezTo>
                    <a:pt x="3948346" y="0"/>
                    <a:pt x="3981043" y="32697"/>
                    <a:pt x="3981043" y="73031"/>
                  </a:cubicBezTo>
                  <a:lnTo>
                    <a:pt x="3981043" y="657280"/>
                  </a:lnTo>
                  <a:cubicBezTo>
                    <a:pt x="3981043" y="697614"/>
                    <a:pt x="3948346" y="730311"/>
                    <a:pt x="3908012" y="730311"/>
                  </a:cubicBezTo>
                  <a:lnTo>
                    <a:pt x="73031" y="730311"/>
                  </a:lnTo>
                  <a:cubicBezTo>
                    <a:pt x="32697" y="730311"/>
                    <a:pt x="0" y="697614"/>
                    <a:pt x="0" y="657280"/>
                  </a:cubicBezTo>
                  <a:lnTo>
                    <a:pt x="0" y="73031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spcFirstLastPara="0" vert="horz" wrap="square" lIns="109020" tIns="109020" rIns="109020" bIns="109020" numCol="1" spcCol="1270" anchor="ctr" anchorCtr="0">
              <a:noAutofit/>
            </a:bodyPr>
            <a:lstStyle/>
            <a:p>
              <a:pPr marL="0" marR="0" lvl="0" indent="0" algn="ctr" defTabSz="10223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สำนักงานบริหารกองทุนเพื่อส่งเสริมการอนุรักษ์พลังงาน (ส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</a:t>
              </a:r>
              <a:r>
                <a:rPr kumimoji="0" lang="th-TH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ท</a:t>
              </a: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อ.)</a:t>
              </a:r>
            </a:p>
          </p:txBody>
        </p:sp>
        <p:cxnSp>
          <p:nvCxnSpPr>
            <p:cNvPr id="15" name="ตัวเชื่อมต่อตรง 20"/>
            <p:cNvCxnSpPr/>
            <p:nvPr/>
          </p:nvCxnSpPr>
          <p:spPr>
            <a:xfrm>
              <a:off x="88165" y="2912459"/>
              <a:ext cx="9055835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Box 15"/>
            <p:cNvSpPr txBox="1"/>
            <p:nvPr/>
          </p:nvSpPr>
          <p:spPr>
            <a:xfrm rot="16200000">
              <a:off x="-352558" y="1669250"/>
              <a:ext cx="15121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800" b="1" i="0" u="none" strike="noStrike" kern="1200" normalizeH="0" baseline="0" noProof="0" dirty="0">
                  <a:solidFill>
                    <a:schemeClr val="tx1"/>
                  </a:solidFill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นโยบาย</a:t>
              </a:r>
              <a:r>
                <a:rPr kumimoji="0" lang="en-US" sz="1800" i="0" u="none" strike="noStrike" kern="1200" cap="none" spc="0" normalizeH="0" baseline="0" noProof="0" dirty="0">
                  <a:ln>
                    <a:solidFill>
                      <a:srgbClr val="002060"/>
                    </a:solidFill>
                  </a:ln>
                  <a:solidFill>
                    <a:srgbClr val="002060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</a:t>
              </a:r>
              <a:endParaRPr kumimoji="0" lang="th-TH" sz="1800" i="0" u="none" strike="noStrike" kern="1200" cap="none" spc="0" normalizeH="0" baseline="0" noProof="0" dirty="0">
                <a:ln>
                  <a:solidFill>
                    <a:srgbClr val="002060"/>
                  </a:solidFill>
                </a:ln>
                <a:solidFill>
                  <a:srgbClr val="00206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18" name="Freeform 17"/>
            <p:cNvSpPr/>
            <p:nvPr/>
          </p:nvSpPr>
          <p:spPr>
            <a:xfrm>
              <a:off x="886707" y="3943517"/>
              <a:ext cx="4064645" cy="730311"/>
            </a:xfrm>
            <a:custGeom>
              <a:avLst/>
              <a:gdLst>
                <a:gd name="connsiteX0" fmla="*/ 0 w 3981043"/>
                <a:gd name="connsiteY0" fmla="*/ 73031 h 730311"/>
                <a:gd name="connsiteX1" fmla="*/ 73031 w 3981043"/>
                <a:gd name="connsiteY1" fmla="*/ 0 h 730311"/>
                <a:gd name="connsiteX2" fmla="*/ 3908012 w 3981043"/>
                <a:gd name="connsiteY2" fmla="*/ 0 h 730311"/>
                <a:gd name="connsiteX3" fmla="*/ 3981043 w 3981043"/>
                <a:gd name="connsiteY3" fmla="*/ 73031 h 730311"/>
                <a:gd name="connsiteX4" fmla="*/ 3981043 w 3981043"/>
                <a:gd name="connsiteY4" fmla="*/ 657280 h 730311"/>
                <a:gd name="connsiteX5" fmla="*/ 3908012 w 3981043"/>
                <a:gd name="connsiteY5" fmla="*/ 730311 h 730311"/>
                <a:gd name="connsiteX6" fmla="*/ 73031 w 3981043"/>
                <a:gd name="connsiteY6" fmla="*/ 730311 h 730311"/>
                <a:gd name="connsiteX7" fmla="*/ 0 w 3981043"/>
                <a:gd name="connsiteY7" fmla="*/ 657280 h 730311"/>
                <a:gd name="connsiteX8" fmla="*/ 0 w 3981043"/>
                <a:gd name="connsiteY8" fmla="*/ 73031 h 730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81043" h="730311">
                  <a:moveTo>
                    <a:pt x="0" y="73031"/>
                  </a:moveTo>
                  <a:cubicBezTo>
                    <a:pt x="0" y="32697"/>
                    <a:pt x="32697" y="0"/>
                    <a:pt x="73031" y="0"/>
                  </a:cubicBezTo>
                  <a:lnTo>
                    <a:pt x="3908012" y="0"/>
                  </a:lnTo>
                  <a:cubicBezTo>
                    <a:pt x="3948346" y="0"/>
                    <a:pt x="3981043" y="32697"/>
                    <a:pt x="3981043" y="73031"/>
                  </a:cubicBezTo>
                  <a:lnTo>
                    <a:pt x="3981043" y="657280"/>
                  </a:lnTo>
                  <a:cubicBezTo>
                    <a:pt x="3981043" y="697614"/>
                    <a:pt x="3948346" y="730311"/>
                    <a:pt x="3908012" y="730311"/>
                  </a:cubicBezTo>
                  <a:lnTo>
                    <a:pt x="73031" y="730311"/>
                  </a:lnTo>
                  <a:cubicBezTo>
                    <a:pt x="32697" y="730311"/>
                    <a:pt x="0" y="697614"/>
                    <a:pt x="0" y="657280"/>
                  </a:cubicBezTo>
                  <a:lnTo>
                    <a:pt x="0" y="73031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spcFirstLastPara="0" vert="horz" wrap="square" lIns="109020" tIns="109020" rIns="109020" bIns="109020" numCol="1" spcCol="1270" anchor="ctr" anchorCtr="0">
              <a:noAutofit/>
            </a:bodyPr>
            <a:lstStyle/>
            <a:p>
              <a:pPr marL="0" marR="0" lvl="0" indent="0" algn="ctr" defTabSz="10223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รมเชื้อเพลิงธรรมชาติ (</a:t>
              </a:r>
              <a:r>
                <a:rPr kumimoji="0" lang="th-TH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ชธ</a:t>
              </a: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)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/>
              </a:r>
              <a:b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(Upstream)</a:t>
              </a:r>
            </a:p>
          </p:txBody>
        </p:sp>
        <p:sp>
          <p:nvSpPr>
            <p:cNvPr id="19" name="Freeform 18"/>
            <p:cNvSpPr/>
            <p:nvPr/>
          </p:nvSpPr>
          <p:spPr>
            <a:xfrm>
              <a:off x="5034955" y="3187181"/>
              <a:ext cx="3981043" cy="730311"/>
            </a:xfrm>
            <a:custGeom>
              <a:avLst/>
              <a:gdLst>
                <a:gd name="connsiteX0" fmla="*/ 0 w 3981043"/>
                <a:gd name="connsiteY0" fmla="*/ 73031 h 730311"/>
                <a:gd name="connsiteX1" fmla="*/ 73031 w 3981043"/>
                <a:gd name="connsiteY1" fmla="*/ 0 h 730311"/>
                <a:gd name="connsiteX2" fmla="*/ 3908012 w 3981043"/>
                <a:gd name="connsiteY2" fmla="*/ 0 h 730311"/>
                <a:gd name="connsiteX3" fmla="*/ 3981043 w 3981043"/>
                <a:gd name="connsiteY3" fmla="*/ 73031 h 730311"/>
                <a:gd name="connsiteX4" fmla="*/ 3981043 w 3981043"/>
                <a:gd name="connsiteY4" fmla="*/ 657280 h 730311"/>
                <a:gd name="connsiteX5" fmla="*/ 3908012 w 3981043"/>
                <a:gd name="connsiteY5" fmla="*/ 730311 h 730311"/>
                <a:gd name="connsiteX6" fmla="*/ 73031 w 3981043"/>
                <a:gd name="connsiteY6" fmla="*/ 730311 h 730311"/>
                <a:gd name="connsiteX7" fmla="*/ 0 w 3981043"/>
                <a:gd name="connsiteY7" fmla="*/ 657280 h 730311"/>
                <a:gd name="connsiteX8" fmla="*/ 0 w 3981043"/>
                <a:gd name="connsiteY8" fmla="*/ 73031 h 730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81043" h="730311">
                  <a:moveTo>
                    <a:pt x="0" y="73031"/>
                  </a:moveTo>
                  <a:cubicBezTo>
                    <a:pt x="0" y="32697"/>
                    <a:pt x="32697" y="0"/>
                    <a:pt x="73031" y="0"/>
                  </a:cubicBezTo>
                  <a:lnTo>
                    <a:pt x="3908012" y="0"/>
                  </a:lnTo>
                  <a:cubicBezTo>
                    <a:pt x="3948346" y="0"/>
                    <a:pt x="3981043" y="32697"/>
                    <a:pt x="3981043" y="73031"/>
                  </a:cubicBezTo>
                  <a:lnTo>
                    <a:pt x="3981043" y="657280"/>
                  </a:lnTo>
                  <a:cubicBezTo>
                    <a:pt x="3981043" y="697614"/>
                    <a:pt x="3948346" y="730311"/>
                    <a:pt x="3908012" y="730311"/>
                  </a:cubicBezTo>
                  <a:lnTo>
                    <a:pt x="73031" y="730311"/>
                  </a:lnTo>
                  <a:cubicBezTo>
                    <a:pt x="32697" y="730311"/>
                    <a:pt x="0" y="697614"/>
                    <a:pt x="0" y="657280"/>
                  </a:cubicBezTo>
                  <a:lnTo>
                    <a:pt x="0" y="73031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spcFirstLastPara="0" vert="horz" wrap="square" lIns="109020" tIns="109020" rIns="109020" bIns="109020" numCol="1" spcCol="1270" anchor="ctr" anchorCtr="0">
              <a:noAutofit/>
            </a:bodyPr>
            <a:lstStyle/>
            <a:p>
              <a:pPr marL="0" marR="0" lvl="0" indent="0" algn="ctr" defTabSz="10223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รมพัฒนาพลังงานทดแทนและอนุรักษ์พลังงาน (</a:t>
              </a:r>
              <a:r>
                <a:rPr kumimoji="0" lang="th-TH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พพ</a:t>
              </a: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)</a:t>
              </a:r>
            </a:p>
          </p:txBody>
        </p:sp>
        <p:sp>
          <p:nvSpPr>
            <p:cNvPr id="20" name="Freeform 19"/>
            <p:cNvSpPr/>
            <p:nvPr/>
          </p:nvSpPr>
          <p:spPr>
            <a:xfrm>
              <a:off x="886707" y="3164031"/>
              <a:ext cx="1652378" cy="730311"/>
            </a:xfrm>
            <a:custGeom>
              <a:avLst/>
              <a:gdLst>
                <a:gd name="connsiteX0" fmla="*/ 0 w 3981043"/>
                <a:gd name="connsiteY0" fmla="*/ 73031 h 730311"/>
                <a:gd name="connsiteX1" fmla="*/ 73031 w 3981043"/>
                <a:gd name="connsiteY1" fmla="*/ 0 h 730311"/>
                <a:gd name="connsiteX2" fmla="*/ 3908012 w 3981043"/>
                <a:gd name="connsiteY2" fmla="*/ 0 h 730311"/>
                <a:gd name="connsiteX3" fmla="*/ 3981043 w 3981043"/>
                <a:gd name="connsiteY3" fmla="*/ 73031 h 730311"/>
                <a:gd name="connsiteX4" fmla="*/ 3981043 w 3981043"/>
                <a:gd name="connsiteY4" fmla="*/ 657280 h 730311"/>
                <a:gd name="connsiteX5" fmla="*/ 3908012 w 3981043"/>
                <a:gd name="connsiteY5" fmla="*/ 730311 h 730311"/>
                <a:gd name="connsiteX6" fmla="*/ 73031 w 3981043"/>
                <a:gd name="connsiteY6" fmla="*/ 730311 h 730311"/>
                <a:gd name="connsiteX7" fmla="*/ 0 w 3981043"/>
                <a:gd name="connsiteY7" fmla="*/ 657280 h 730311"/>
                <a:gd name="connsiteX8" fmla="*/ 0 w 3981043"/>
                <a:gd name="connsiteY8" fmla="*/ 73031 h 730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81043" h="730311">
                  <a:moveTo>
                    <a:pt x="0" y="73031"/>
                  </a:moveTo>
                  <a:cubicBezTo>
                    <a:pt x="0" y="32697"/>
                    <a:pt x="32697" y="0"/>
                    <a:pt x="73031" y="0"/>
                  </a:cubicBezTo>
                  <a:lnTo>
                    <a:pt x="3908012" y="0"/>
                  </a:lnTo>
                  <a:cubicBezTo>
                    <a:pt x="3948346" y="0"/>
                    <a:pt x="3981043" y="32697"/>
                    <a:pt x="3981043" y="73031"/>
                  </a:cubicBezTo>
                  <a:lnTo>
                    <a:pt x="3981043" y="657280"/>
                  </a:lnTo>
                  <a:cubicBezTo>
                    <a:pt x="3981043" y="697614"/>
                    <a:pt x="3948346" y="730311"/>
                    <a:pt x="3908012" y="730311"/>
                  </a:cubicBezTo>
                  <a:lnTo>
                    <a:pt x="73031" y="730311"/>
                  </a:lnTo>
                  <a:cubicBezTo>
                    <a:pt x="32697" y="730311"/>
                    <a:pt x="0" y="697614"/>
                    <a:pt x="0" y="657280"/>
                  </a:cubicBezTo>
                  <a:lnTo>
                    <a:pt x="0" y="73031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spcFirstLastPara="0" vert="horz" wrap="square" lIns="109020" tIns="109020" rIns="109020" bIns="109020" numCol="1" spcCol="1270" anchor="ctr" anchorCtr="0">
              <a:noAutofit/>
            </a:bodyPr>
            <a:lstStyle/>
            <a:p>
              <a:pPr marL="0" marR="0" lvl="0" indent="0" algn="ctr" defTabSz="10223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รมธุรกิจพลังงาน (</a:t>
              </a:r>
              <a:r>
                <a:rPr kumimoji="0" lang="th-TH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ธพ</a:t>
              </a: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)</a:t>
              </a:r>
            </a:p>
          </p:txBody>
        </p:sp>
        <p:sp>
          <p:nvSpPr>
            <p:cNvPr id="21" name="Freeform 20"/>
            <p:cNvSpPr/>
            <p:nvPr/>
          </p:nvSpPr>
          <p:spPr>
            <a:xfrm>
              <a:off x="2611093" y="3164031"/>
              <a:ext cx="2340259" cy="730311"/>
            </a:xfrm>
            <a:custGeom>
              <a:avLst/>
              <a:gdLst>
                <a:gd name="connsiteX0" fmla="*/ 0 w 3981043"/>
                <a:gd name="connsiteY0" fmla="*/ 73031 h 730311"/>
                <a:gd name="connsiteX1" fmla="*/ 73031 w 3981043"/>
                <a:gd name="connsiteY1" fmla="*/ 0 h 730311"/>
                <a:gd name="connsiteX2" fmla="*/ 3908012 w 3981043"/>
                <a:gd name="connsiteY2" fmla="*/ 0 h 730311"/>
                <a:gd name="connsiteX3" fmla="*/ 3981043 w 3981043"/>
                <a:gd name="connsiteY3" fmla="*/ 73031 h 730311"/>
                <a:gd name="connsiteX4" fmla="*/ 3981043 w 3981043"/>
                <a:gd name="connsiteY4" fmla="*/ 657280 h 730311"/>
                <a:gd name="connsiteX5" fmla="*/ 3908012 w 3981043"/>
                <a:gd name="connsiteY5" fmla="*/ 730311 h 730311"/>
                <a:gd name="connsiteX6" fmla="*/ 73031 w 3981043"/>
                <a:gd name="connsiteY6" fmla="*/ 730311 h 730311"/>
                <a:gd name="connsiteX7" fmla="*/ 0 w 3981043"/>
                <a:gd name="connsiteY7" fmla="*/ 657280 h 730311"/>
                <a:gd name="connsiteX8" fmla="*/ 0 w 3981043"/>
                <a:gd name="connsiteY8" fmla="*/ 73031 h 7303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981043" h="730311">
                  <a:moveTo>
                    <a:pt x="0" y="73031"/>
                  </a:moveTo>
                  <a:cubicBezTo>
                    <a:pt x="0" y="32697"/>
                    <a:pt x="32697" y="0"/>
                    <a:pt x="73031" y="0"/>
                  </a:cubicBezTo>
                  <a:lnTo>
                    <a:pt x="3908012" y="0"/>
                  </a:lnTo>
                  <a:cubicBezTo>
                    <a:pt x="3948346" y="0"/>
                    <a:pt x="3981043" y="32697"/>
                    <a:pt x="3981043" y="73031"/>
                  </a:cubicBezTo>
                  <a:lnTo>
                    <a:pt x="3981043" y="657280"/>
                  </a:lnTo>
                  <a:cubicBezTo>
                    <a:pt x="3981043" y="697614"/>
                    <a:pt x="3948346" y="730311"/>
                    <a:pt x="3908012" y="730311"/>
                  </a:cubicBezTo>
                  <a:lnTo>
                    <a:pt x="73031" y="730311"/>
                  </a:lnTo>
                  <a:cubicBezTo>
                    <a:pt x="32697" y="730311"/>
                    <a:pt x="0" y="697614"/>
                    <a:pt x="0" y="657280"/>
                  </a:cubicBezTo>
                  <a:lnTo>
                    <a:pt x="0" y="73031"/>
                  </a:lnTo>
                  <a:close/>
                </a:path>
              </a:pathLst>
            </a:cu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spcFirstLastPara="0" vert="horz" wrap="square" lIns="109020" tIns="109020" rIns="109020" bIns="109020" numCol="1" spcCol="1270" anchor="ctr" anchorCtr="0">
              <a:noAutofit/>
            </a:bodyPr>
            <a:lstStyle/>
            <a:p>
              <a:pPr marL="0" marR="0" lvl="0" indent="0" algn="ctr" defTabSz="10223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คณะกรรมการ</a:t>
              </a:r>
              <a:b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</a:b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ำกับกิจการพลังงาน (</a:t>
              </a:r>
              <a:r>
                <a:rPr kumimoji="0" lang="th-TH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กพ</a:t>
              </a: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)</a:t>
              </a:r>
            </a:p>
          </p:txBody>
        </p:sp>
        <p:cxnSp>
          <p:nvCxnSpPr>
            <p:cNvPr id="22" name="ตัวเชื่อมต่อตรง 19"/>
            <p:cNvCxnSpPr/>
            <p:nvPr/>
          </p:nvCxnSpPr>
          <p:spPr>
            <a:xfrm>
              <a:off x="152725" y="4820758"/>
              <a:ext cx="9055835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TextBox 22"/>
            <p:cNvSpPr txBox="1"/>
            <p:nvPr/>
          </p:nvSpPr>
          <p:spPr>
            <a:xfrm rot="16200000">
              <a:off x="-352558" y="3762911"/>
              <a:ext cx="15121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4800" b="1">
                  <a:ln>
                    <a:solidFill>
                      <a:srgbClr val="002060"/>
                    </a:solidFill>
                  </a:ln>
                  <a:solidFill>
                    <a:srgbClr val="002060"/>
                  </a:solidFill>
                  <a:latin typeface="TH SarabunPSK" pitchFamily="34" charset="-34"/>
                  <a:ea typeface="Tahoma" panose="020B0604030504040204" pitchFamily="34" charset="0"/>
                  <a:cs typeface="TH SarabunPSK" pitchFamily="34" charset="-34"/>
                </a:defRPr>
              </a:lvl1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800" i="0" u="none" strike="noStrike" kern="1200" normalizeH="0" baseline="0" noProof="0" dirty="0">
                  <a:ln>
                    <a:noFill/>
                  </a:ln>
                  <a:solidFill>
                    <a:schemeClr val="tx1"/>
                  </a:solidFill>
                  <a:uLnTx/>
                  <a:uFillTx/>
                  <a:latin typeface="Tahoma" panose="020B0604030504040204" pitchFamily="34" charset="0"/>
                  <a:cs typeface="Tahoma" panose="020B0604030504040204" pitchFamily="34" charset="0"/>
                </a:rPr>
                <a:t>กำกับ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 rot="16200000">
              <a:off x="-352558" y="5413666"/>
              <a:ext cx="15121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ctr">
                <a:defRPr sz="3200" b="1">
                  <a:ln>
                    <a:solidFill>
                      <a:srgbClr val="002060"/>
                    </a:solidFill>
                  </a:ln>
                  <a:solidFill>
                    <a:srgbClr val="002060"/>
                  </a:solidFill>
                  <a:latin typeface="TH SarabunPSK" pitchFamily="34" charset="-34"/>
                  <a:ea typeface="Tahoma" panose="020B0604030504040204" pitchFamily="34" charset="0"/>
                  <a:cs typeface="TH SarabunPSK" pitchFamily="34" charset="-34"/>
                </a:defRPr>
              </a:lvl1pPr>
            </a:lstStyle>
            <a:p>
              <a:pPr marL="0" marR="0" lvl="0" indent="0" algn="ct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800" i="0" u="none" strike="noStrike" kern="1200" normalizeH="0" baseline="0" noProof="0" dirty="0">
                  <a:ln>
                    <a:noFill/>
                  </a:ln>
                  <a:solidFill>
                    <a:schemeClr val="tx1"/>
                  </a:solidFill>
                  <a:uLnTx/>
                  <a:uFillTx/>
                  <a:latin typeface="Tahoma" panose="020B0604030504040204" pitchFamily="34" charset="0"/>
                  <a:cs typeface="Tahoma" panose="020B0604030504040204" pitchFamily="34" charset="0"/>
                </a:rPr>
                <a:t>ปฏิบัติ</a:t>
              </a:r>
            </a:p>
          </p:txBody>
        </p:sp>
        <p:sp>
          <p:nvSpPr>
            <p:cNvPr id="25" name="TextBox 24"/>
            <p:cNvSpPr txBox="1"/>
            <p:nvPr/>
          </p:nvSpPr>
          <p:spPr>
            <a:xfrm>
              <a:off x="886707" y="4971993"/>
              <a:ext cx="2582006" cy="457200"/>
            </a:xfrm>
            <a:prstGeom prst="roundRect">
              <a:avLst/>
            </a:prstGeom>
            <a:noFill/>
            <a:ln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spcFirstLastPara="0" vert="horz" wrap="square" lIns="109020" tIns="109020" rIns="109020" bIns="109020" numCol="1" spcCol="1270" anchor="ctr" anchorCtr="0">
              <a:noAutofit/>
            </a:bodyPr>
            <a:lstStyle>
              <a:defPPr>
                <a:defRPr lang="en-US"/>
              </a:defPPr>
              <a:lvl1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 sz="2300" b="1" i="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10223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ปตท.</a:t>
              </a:r>
            </a:p>
          </p:txBody>
        </p:sp>
        <p:sp>
          <p:nvSpPr>
            <p:cNvPr id="26" name="TextBox 25"/>
            <p:cNvSpPr txBox="1"/>
            <p:nvPr/>
          </p:nvSpPr>
          <p:spPr>
            <a:xfrm>
              <a:off x="886707" y="5980145"/>
              <a:ext cx="1260000" cy="411716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9020" tIns="109020" rIns="109020" bIns="109020" numCol="1" spcCol="1270" anchor="ctr" anchorCtr="0">
              <a:noAutofit/>
            </a:bodyPr>
            <a:lstStyle>
              <a:defPPr>
                <a:defRPr lang="en-US"/>
              </a:defPPr>
              <a:lvl1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 sz="2300" b="1" i="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10223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น้ำมัน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2203314" y="5980145"/>
              <a:ext cx="1260000" cy="410882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9020" tIns="109020" rIns="109020" bIns="109020" numCol="1" spcCol="1270" anchor="ctr" anchorCtr="0">
              <a:noAutofit/>
            </a:bodyPr>
            <a:lstStyle>
              <a:defPPr>
                <a:defRPr lang="en-US"/>
              </a:defPPr>
              <a:lvl1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 sz="2300" b="1" i="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10223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แก๊ส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3619205" y="4971992"/>
              <a:ext cx="2664296" cy="457200"/>
            </a:xfrm>
            <a:prstGeom prst="roundRect">
              <a:avLst/>
            </a:prstGeom>
            <a:noFill/>
            <a:ln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spcFirstLastPara="0" vert="horz" wrap="square" lIns="109020" tIns="109020" rIns="109020" bIns="109020" numCol="1" spcCol="1270" anchor="ctr" anchorCtr="0">
              <a:noAutofit/>
            </a:bodyPr>
            <a:lstStyle>
              <a:defPPr>
                <a:defRPr lang="en-US"/>
              </a:defPPr>
              <a:lvl1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 sz="2300" b="1" i="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10223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ฟผ</a:t>
              </a: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 / </a:t>
              </a:r>
              <a:r>
                <a:rPr kumimoji="0" lang="th-TH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ฟน</a:t>
              </a: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 / </a:t>
              </a:r>
              <a:r>
                <a:rPr kumimoji="0" lang="th-TH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กฟภ</a:t>
              </a: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.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619205" y="5476049"/>
              <a:ext cx="2664296" cy="455515"/>
            </a:xfrm>
            <a:prstGeom prst="roundRect">
              <a:avLst/>
            </a:prstGeom>
            <a:noFill/>
            <a:ln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spcFirstLastPara="0" vert="horz" wrap="square" lIns="109020" tIns="109020" rIns="109020" bIns="109020" numCol="1" spcCol="1270" anchor="ctr" anchorCtr="0">
              <a:noAutofit/>
            </a:bodyPr>
            <a:lstStyle>
              <a:defPPr>
                <a:defRPr lang="en-US"/>
              </a:defPPr>
              <a:lvl1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 sz="2300" b="1" i="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10223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IPP</a:t>
              </a: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/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SPP</a:t>
              </a: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/ </a:t>
              </a: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VSPP</a:t>
              </a:r>
              <a:endParaRPr kumimoji="0" lang="th-TH" sz="1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3619205" y="5980145"/>
              <a:ext cx="2664296" cy="410882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9020" tIns="109020" rIns="109020" bIns="109020" numCol="1" spcCol="1270" anchor="ctr" anchorCtr="0">
              <a:noAutofit/>
            </a:bodyPr>
            <a:lstStyle>
              <a:defPPr>
                <a:defRPr lang="en-US"/>
              </a:defPPr>
              <a:lvl1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 sz="2300" b="1" i="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10223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ไฟฟ้า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886707" y="5476049"/>
              <a:ext cx="2582006" cy="454593"/>
            </a:xfrm>
            <a:prstGeom prst="roundRect">
              <a:avLst/>
            </a:prstGeom>
            <a:noFill/>
            <a:ln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spcFirstLastPara="0" vert="horz" wrap="square" lIns="109020" tIns="109020" rIns="109020" bIns="109020" numCol="1" spcCol="1270" anchor="ctr" anchorCtr="0">
              <a:noAutofit/>
            </a:bodyPr>
            <a:lstStyle>
              <a:defPPr>
                <a:defRPr lang="en-US"/>
              </a:defPPr>
              <a:lvl1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 sz="2300" b="1" i="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10223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บ.น้ำมัน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6427517" y="4971992"/>
              <a:ext cx="2588480" cy="958650"/>
            </a:xfrm>
            <a:prstGeom prst="roundRect">
              <a:avLst/>
            </a:prstGeom>
            <a:noFill/>
            <a:ln>
              <a:solidFill>
                <a:schemeClr val="accent5">
                  <a:lumMod val="40000"/>
                  <a:lumOff val="6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spcFirstLastPara="0" vert="horz" wrap="square" lIns="109020" tIns="109020" rIns="109020" bIns="109020" numCol="1" spcCol="1270" anchor="ctr" anchorCtr="0">
              <a:noAutofit/>
            </a:bodyPr>
            <a:lstStyle>
              <a:defPPr>
                <a:defRPr lang="en-US"/>
              </a:defPPr>
              <a:lvl1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 sz="2300" b="1" i="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10223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เอกชนทั่วไป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6421116" y="5980145"/>
              <a:ext cx="2594881" cy="411716"/>
            </a:xfrm>
            <a:prstGeom prst="rect">
              <a:avLst/>
            </a:prstGeom>
            <a:noFill/>
            <a:ln w="3175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09020" tIns="109020" rIns="109020" bIns="109020" numCol="1" spcCol="1270" anchor="ctr" anchorCtr="0">
              <a:noAutofit/>
            </a:bodyPr>
            <a:lstStyle>
              <a:defPPr>
                <a:defRPr lang="en-US"/>
              </a:defPPr>
              <a:lvl1pPr lvl="0" algn="ctr" defTabSz="10223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 sz="2300" b="1" i="0">
                  <a:solidFill>
                    <a:schemeClr val="lt1"/>
                  </a:solidFill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0" marR="0" lvl="0" indent="0" algn="ctr" defTabSz="1022350" rtl="0" eaLnBrk="0" fontAlgn="base" latinLnBrk="0" hangingPunct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th-TH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ทดแทน+อนุรักษ์</a:t>
              </a:r>
            </a:p>
          </p:txBody>
        </p:sp>
      </p:grpSp>
      <p:sp>
        <p:nvSpPr>
          <p:cNvPr id="35" name="Slide Number Placeholder 3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CC8D51-5B81-4427-8368-374905FFCA51}" type="slidenum">
              <a:rPr kumimoji="0" lang="en-US" altLang="th-TH" sz="1000" b="0" i="0" u="none" strike="noStrike" kern="1200" cap="none" spc="0" normalizeH="0" baseline="0" noProof="0" smtClean="0">
                <a:ln>
                  <a:noFill/>
                </a:ln>
                <a:solidFill>
                  <a:srgbClr val="898989"/>
                </a:solidFill>
                <a:effectLst/>
                <a:uLnTx/>
                <a:uFillTx/>
                <a:latin typeface="Tahoma" pitchFamily="34" charset="0"/>
                <a:ea typeface="+mn-ea"/>
                <a:cs typeface="Tahoma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altLang="th-TH" sz="1000" b="0" i="0" u="none" strike="noStrike" kern="1200" cap="none" spc="0" normalizeH="0" baseline="0" noProof="0">
              <a:ln>
                <a:noFill/>
              </a:ln>
              <a:solidFill>
                <a:srgbClr val="898989"/>
              </a:solidFill>
              <a:effectLst/>
              <a:uLnTx/>
              <a:uFillTx/>
              <a:latin typeface="Tahoma" pitchFamily="34" charset="0"/>
              <a:ea typeface="+mn-ea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1043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H4jGZzFk.9HaZFcpPV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wsK2kBd0GtTDu_lGrIU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heme/theme1.xml><?xml version="1.0" encoding="utf-8"?>
<a:theme xmlns:a="http://schemas.openxmlformats.org/drawingml/2006/main" name="MOE_CF_TFY003">
  <a:themeElements>
    <a:clrScheme name="MOE_CF_TFY003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E6CD14"/>
      </a:accent1>
      <a:accent2>
        <a:srgbClr val="FF781E"/>
      </a:accent2>
      <a:accent3>
        <a:srgbClr val="EE3F22"/>
      </a:accent3>
      <a:accent4>
        <a:srgbClr val="434343"/>
      </a:accent4>
      <a:accent5>
        <a:srgbClr val="B3250D"/>
      </a:accent5>
      <a:accent6>
        <a:srgbClr val="808080"/>
      </a:accent6>
      <a:hlink>
        <a:srgbClr val="0000FF"/>
      </a:hlink>
      <a:folHlink>
        <a:srgbClr val="FF00FF"/>
      </a:folHlink>
    </a:clrScheme>
    <a:fontScheme name="MOE_CF_TFY003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MOE_CF_TFY003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MOE_CF_TFY003">
  <a:themeElements>
    <a:clrScheme name="MOE_CF_TFY003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E6CD14"/>
      </a:accent1>
      <a:accent2>
        <a:srgbClr val="FF781E"/>
      </a:accent2>
      <a:accent3>
        <a:srgbClr val="EE3F22"/>
      </a:accent3>
      <a:accent4>
        <a:srgbClr val="434343"/>
      </a:accent4>
      <a:accent5>
        <a:srgbClr val="B3250D"/>
      </a:accent5>
      <a:accent6>
        <a:srgbClr val="808080"/>
      </a:accent6>
      <a:hlink>
        <a:srgbClr val="0000FF"/>
      </a:hlink>
      <a:folHlink>
        <a:srgbClr val="FF00FF"/>
      </a:folHlink>
    </a:clrScheme>
    <a:fontScheme name="MOE_CF_TFY003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MOE_CF_TFY003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855</TotalTime>
  <Words>3381</Words>
  <Application>Microsoft Office PowerPoint</Application>
  <PresentationFormat>On-screen Show (4:3)</PresentationFormat>
  <Paragraphs>722</Paragraphs>
  <Slides>33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9" baseType="lpstr">
      <vt:lpstr>MS PGothic</vt:lpstr>
      <vt:lpstr>MS PGothic</vt:lpstr>
      <vt:lpstr>Angsana New</vt:lpstr>
      <vt:lpstr>Arial</vt:lpstr>
      <vt:lpstr>Arial Unicode MS</vt:lpstr>
      <vt:lpstr>Calibri</vt:lpstr>
      <vt:lpstr>Calibri Light</vt:lpstr>
      <vt:lpstr>Cordia New</vt:lpstr>
      <vt:lpstr>Courier New</vt:lpstr>
      <vt:lpstr>DSN KaMon</vt:lpstr>
      <vt:lpstr>Helvetica</vt:lpstr>
      <vt:lpstr>Tahoma</vt:lpstr>
      <vt:lpstr>TH SarabunPSK</vt:lpstr>
      <vt:lpstr>Wingdings</vt:lpstr>
      <vt:lpstr>MOE_CF_TFY003</vt:lpstr>
      <vt:lpstr>think-cell Slide</vt:lpstr>
      <vt:lpstr>ภาพรวมโครงสร้าง นโยบายด้านพลังงาน</vt:lpstr>
      <vt:lpstr>หัวข้อนำเสนอ</vt:lpstr>
      <vt:lpstr> โครงสร้างกระทรวงพลังงาน  </vt:lpstr>
      <vt:lpstr>กระทรวงพลังงาน ก่อตั้งเมื่อ พ.ศ. 2545</vt:lpstr>
      <vt:lpstr>โครงสร้างและภารกิจ</vt:lpstr>
      <vt:lpstr>PowerPoint Presentation</vt:lpstr>
      <vt:lpstr>โครงสร้างผู้บริหาร</vt:lpstr>
      <vt:lpstr>กลไกการบริหารนโยบายพลังงานของประเทศ</vt:lpstr>
      <vt:lpstr> โครงสร้างคณะกรรมการด้านพลังงาน</vt:lpstr>
      <vt:lpstr>PowerPoint Presentation</vt:lpstr>
      <vt:lpstr>สำนักงานพลังงานจังหวัด สังกัดสำนักงานปลัดกระทรวงพลังงาน </vt:lpstr>
      <vt:lpstr> ประเด็นนโยบายสำคัญด้านพลังงาน   </vt:lpstr>
      <vt:lpstr>PowerPoint Presentation</vt:lpstr>
      <vt:lpstr>PowerPoint Presentation</vt:lpstr>
      <vt:lpstr> ประเด็นนโยบายพลังงานไทยที่สำคัญ</vt:lpstr>
      <vt:lpstr> ประเด็นนโยบายสำคัญ</vt:lpstr>
      <vt:lpstr> ประเด็นนโยบายสำคัญ</vt:lpstr>
      <vt:lpstr> ประเด็นนโยบายสำคัญ</vt:lpstr>
      <vt:lpstr> ประเด็นนโยบายสำคัญ</vt:lpstr>
      <vt:lpstr> ภารกิจสำนักงานพลังงานจังหวัด  </vt:lpstr>
      <vt:lpstr>ภารกิจสำนักงานพลังงานจังหวัด</vt:lpstr>
      <vt:lpstr>PowerPoint Presentation</vt:lpstr>
      <vt:lpstr>PowerPoint Presentation</vt:lpstr>
      <vt:lpstr>ภารกิจสำนักงานพลังงานจังหวัด</vt:lpstr>
      <vt:lpstr>PowerPoint Presentation</vt:lpstr>
      <vt:lpstr>ภารกิจสำนักงานพลังงานจังหวัด</vt:lpstr>
      <vt:lpstr>การแปลงนโยบายสู่การปฏิบัติ</vt:lpstr>
      <vt:lpstr>PowerPoint Presentation</vt:lpstr>
      <vt:lpstr>ภารกิจสำนักงานพลังงานจังหวัด</vt:lpstr>
      <vt:lpstr>PowerPoint Presentation</vt:lpstr>
      <vt:lpstr>PowerPoint Presentation</vt:lpstr>
      <vt:lpstr>PowerPoint Presentation</vt:lpstr>
      <vt:lpstr> ขอบคุณครับ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พลังงานไทย</dc:title>
  <dc:creator>user</dc:creator>
  <cp:lastModifiedBy>HP</cp:lastModifiedBy>
  <cp:revision>328</cp:revision>
  <cp:lastPrinted>2019-07-08T10:17:59Z</cp:lastPrinted>
  <dcterms:modified xsi:type="dcterms:W3CDTF">2019-07-09T01:56:33Z</dcterms:modified>
</cp:coreProperties>
</file>